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17" saveSubsetFonts="1" autoCompressPictures="0">
  <p:sldMasterIdLst>
    <p:sldMasterId id="2147483775" r:id="rId4"/>
  </p:sldMasterIdLst>
  <p:notesMasterIdLst>
    <p:notesMasterId r:id="rId6"/>
  </p:notesMasterIdLst>
  <p:sldIdLst>
    <p:sldId id="1527" r:id="rId5"/>
  </p:sldIdLst>
  <p:sldSz cx="12192000" cy="6858000"/>
  <p:notesSz cx="6858000" cy="9144000"/>
  <p:custDataLst>
    <p:tags r:id="rId7"/>
  </p:custDataLst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7CD0904-4C35-D9DA-1D6C-C9888E58C9E4}" name="Tobias Maurer" initials="TM" userId="S::tobias.maurer@empowersuite.com::a253338d-9e07-4eb6-8a12-79734527286b" providerId="AD"/>
  <p188:author id="{9F55CE07-769A-1086-3408-4FA351695EA5}" name="Veronika Philipp" initials="VP" userId="S::veronika.philipp@empowersuite.com::43d3d555-6964-41ea-ab86-58ed21a37505" providerId="AD"/>
  <p188:author id="{DBF1C326-D23C-2389-B43D-A03793E379AD}" name="Stephan Kuhnert" initials="SK" userId="S::kuhnert@madeinoffice.com::68b29c7c-a342-4e65-b8db-49002b385efd" providerId="AD"/>
  <p188:author id="{1C671C58-AD34-F9C2-3F93-477E1F193BA0}" name="Teresa Almeida" initials="TA" userId="S::t.almeida@intobranding.com::cd7c3afa-cdcd-475c-b8a4-fdba6743df0e" providerId="AD"/>
  <p188:author id="{1410AB71-70F4-CF05-1E4D-3DB39BC957BE}" name="Victor Rodriguez" initials="VR" userId="S::victor.rodriguez@empowersuite.com::82000292-0f18-46b2-8284-5477234394e1" providerId="AD"/>
  <p188:author id="{389C8A76-7CB6-C044-0285-41143982D9ED}" name="Stephan Kuhnert" initials="SK" userId="S::stephan.kuhnert@empowersuite.com::68b29c7c-a342-4e65-b8db-49002b385efd" providerId="AD"/>
  <p188:author id="{65282787-7CD5-5633-B9F2-6B12AED6D2C0}" name="Jason Pugliese" initials="JP" userId="S::jason.pugliese@empowersuite.com::b7d8c6ba-5d1b-43e5-b079-5e81fa9a7c71" providerId="AD"/>
  <p188:author id="{BEBA108A-4D97-79B3-8102-AC0DFCFDA706}" name="Felix Brüning" initials="FB" userId="S::bruening@madeinoffice.com::d67efc62-7a71-4b67-a68a-7bf1f6770d2d" providerId="AD"/>
  <p188:author id="{CD8171B9-0FE0-9DFE-C58C-166D1E5A36F8}" name="Carina Geueke" initials="CG" userId="S::carina.geueke@empowersuite.com::e1f28b6f-921f-4a05-ab99-25afd8a48fe8" providerId="AD"/>
  <p188:author id="{330869BB-BA29-B8DE-4DF0-080443501EAD}" name="Patrick Schumacher" initials="PS" userId="S::patrick.schumacher@empowersuite.com::6304d65a-88ea-4ac1-89ec-ec54f1e9e3d9" providerId="AD"/>
  <p188:author id="{0114B9CC-2A3A-6D64-33D4-14C6F453DE00}" name="Felix Brüning" initials="FB" userId="S::felix.bruening@empowersuite.com::d67efc62-7a71-4b67-a68a-7bf1f6770d2d" providerId="AD"/>
  <p188:author id="{309B34DB-08A1-09CE-186C-AB6824AA80E8}" name="Tom Becker" initials="TB" userId="S::tom.becker@empowersuite.com::036bc710-0288-413e-8ea2-8f2991de5161" providerId="AD"/>
  <p188:author id="{2AC3B2DB-8986-147A-5CBE-71A22718AAE6}" name="Ekaterina Osmanovich" initials="EO" userId="S::ekaterina.osmanovich@empowersuite.com::c9a63af0-aed6-4087-ad8e-fc02fb3fc6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018"/>
    <a:srgbClr val="DCDCDC"/>
    <a:srgbClr val="EDFCFF"/>
    <a:srgbClr val="E7EDF2"/>
    <a:srgbClr val="3C3C3C"/>
    <a:srgbClr val="538FFF"/>
    <a:srgbClr val="123C8B"/>
    <a:srgbClr val="2D4E8B"/>
    <a:srgbClr val="1E3A70"/>
    <a:srgbClr val="0031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1" d="100"/>
          <a:sy n="91" d="100"/>
        </p:scale>
        <p:origin x="537" y="27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na Manzi" userId="0f48cb9c-dcef-456a-af92-5a9ee208de37" providerId="ADAL" clId="{AC61A8B0-A858-4F87-B3DD-B792F4C71611}"/>
    <pc:docChg chg="custSel modSld">
      <pc:chgData name="Georgina Manzi" userId="0f48cb9c-dcef-456a-af92-5a9ee208de37" providerId="ADAL" clId="{AC61A8B0-A858-4F87-B3DD-B792F4C71611}" dt="2026-01-28T11:12:09.710" v="38" actId="948"/>
      <pc:docMkLst>
        <pc:docMk/>
      </pc:docMkLst>
      <pc:sldChg chg="modSp mod">
        <pc:chgData name="Georgina Manzi" userId="0f48cb9c-dcef-456a-af92-5a9ee208de37" providerId="ADAL" clId="{AC61A8B0-A858-4F87-B3DD-B792F4C71611}" dt="2026-01-28T11:12:09.710" v="38" actId="948"/>
        <pc:sldMkLst>
          <pc:docMk/>
          <pc:sldMk cId="3782218632" sldId="1527"/>
        </pc:sldMkLst>
        <pc:spChg chg="mod">
          <ac:chgData name="Georgina Manzi" userId="0f48cb9c-dcef-456a-af92-5a9ee208de37" providerId="ADAL" clId="{AC61A8B0-A858-4F87-B3DD-B792F4C71611}" dt="2026-01-28T11:12:09.710" v="38" actId="948"/>
          <ac:spMkLst>
            <pc:docMk/>
            <pc:sldMk cId="3782218632" sldId="1527"/>
            <ac:spMk id="36" creationId="{CA9097E1-B9BC-796E-F769-04F1C2CB0A9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en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922067A9-F686-F844-8EA3-D4DA87835F33}" type="datetimeFigureOut">
              <a:rPr lang="en-PT"/>
              <a:pPr/>
              <a:t>01/28/2026</a:t>
            </a:fld>
            <a:endParaRPr lang="en-P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T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en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500824F8-5313-0C4C-8B10-6D0C2CC92225}" type="slidenum">
              <a:rPr lang="en-PT"/>
              <a:pPr/>
              <a:t>‹#›</a:t>
            </a:fld>
            <a:endParaRPr lang="en-PT" dirty="0"/>
          </a:p>
        </p:txBody>
      </p:sp>
    </p:spTree>
    <p:extLst>
      <p:ext uri="{BB962C8B-B14F-4D97-AF65-F5344CB8AC3E}">
        <p14:creationId xmlns:p14="http://schemas.microsoft.com/office/powerpoint/2010/main" val="846521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824F8-5313-0C4C-8B10-6D0C2CC9222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781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quiggle">
            <a:extLst>
              <a:ext uri="{FF2B5EF4-FFF2-40B4-BE49-F238E27FC236}">
                <a16:creationId xmlns:a16="http://schemas.microsoft.com/office/drawing/2014/main" id="{463F5D0C-65C5-086F-4E60-1F0A660F42B5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Blue Box Shape">
            <a:extLst>
              <a:ext uri="{FF2B5EF4-FFF2-40B4-BE49-F238E27FC236}">
                <a16:creationId xmlns:a16="http://schemas.microsoft.com/office/drawing/2014/main" id="{76823654-0DEA-9800-76C1-EB05AC4A18AE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baseline="0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F9D5D955-DB32-6A5C-C407-2B252C3BFE21}"/>
              </a:ext>
            </a:extLst>
          </p:cNvPr>
          <p:cNvSpPr/>
          <p:nvPr/>
        </p:nvSpPr>
        <p:spPr bwMode="black">
          <a:xfrm>
            <a:off x="9211095" y="767924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BCE12DA5-FA0F-2599-53F7-72C054F2F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tx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29874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C (Mid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23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C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0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C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6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98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8A8E-AC52-8E78-8332-38A3B4F1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694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DB4EAF0F-926C-C687-2CAB-EBECD17C8A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034C86-AB12-63AB-0C99-237B15474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48087-4076-5754-C666-1808BF3AA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000" y="956760"/>
            <a:ext cx="11088001" cy="312009"/>
          </a:xfrm>
        </p:spPr>
        <p:txBody>
          <a:bodyPr/>
          <a:lstStyle>
            <a:lvl1pPr>
              <a:defRPr lang="en-GB" sz="2000" b="0" i="0" kern="1200" spc="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 indent="0" algn="l" defTabSz="972000" rtl="0" eaLnBrk="1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F9839D-F58B-9613-ECE5-D7FF57F4D1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1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>
            <a:extLst>
              <a:ext uri="{FF2B5EF4-FFF2-40B4-BE49-F238E27FC236}">
                <a16:creationId xmlns:a16="http://schemas.microsoft.com/office/drawing/2014/main" id="{295C4B23-21F2-2145-95FE-3AB8A61615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66001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C1BC992A-302B-241D-8898-D33B51BF79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2000" y="1700808"/>
            <a:ext cx="52740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581B0-C9DC-746F-44A6-3536C5D57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A2B96E86-1CA0-A5C9-1706-E774568A41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000" y="956760"/>
            <a:ext cx="11088001" cy="31200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GB" sz="2000" b="0" i="0" spc="0">
                <a:solidFill>
                  <a:schemeClr val="accent2"/>
                </a:solidFill>
                <a:ea typeface="+mj-ea"/>
                <a:cs typeface="+mj-cs"/>
              </a:defRPr>
            </a:lvl1pPr>
            <a:lvl2pPr marL="0" indent="0">
              <a:buNone/>
              <a:defRPr lang="en-GB"/>
            </a:lvl2pPr>
            <a:lvl3pPr>
              <a:defRPr lang="en-GB"/>
            </a:lvl3pPr>
            <a:lvl4pPr>
              <a:defRPr lang="en-GB" sz="1200"/>
            </a:lvl4pPr>
            <a:lvl5pPr>
              <a:defRPr lang="en-US" sz="1400">
                <a:solidFill>
                  <a:schemeClr val="tx1"/>
                </a:solidFill>
                <a:latin typeface="+mn-lt"/>
              </a:defRPr>
            </a:lvl5pPr>
          </a:lstStyle>
          <a:p>
            <a:pPr lvl="0" defTabSz="972000"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6C9DB9E-B2B4-6921-A65D-70348453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48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00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440875">
            <a:off x="-1809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69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woosh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quiggle">
            <a:extLst>
              <a:ext uri="{FF2B5EF4-FFF2-40B4-BE49-F238E27FC236}">
                <a16:creationId xmlns:a16="http://schemas.microsoft.com/office/drawing/2014/main" id="{F1E92234-4982-3E11-5373-29201E90D1F3}"/>
              </a:ext>
            </a:extLst>
          </p:cNvPr>
          <p:cNvSpPr/>
          <p:nvPr/>
        </p:nvSpPr>
        <p:spPr>
          <a:xfrm rot="21159125" flipH="1">
            <a:off x="-319821" y="265105"/>
            <a:ext cx="12690000" cy="7380000"/>
          </a:xfrm>
          <a:custGeom>
            <a:avLst/>
            <a:gdLst>
              <a:gd name="connsiteX0" fmla="*/ 9663071 w 12695865"/>
              <a:gd name="connsiteY0" fmla="*/ 4936695 h 7287592"/>
              <a:gd name="connsiteX1" fmla="*/ 10305791 w 12695865"/>
              <a:gd name="connsiteY1" fmla="*/ 5792294 h 7287592"/>
              <a:gd name="connsiteX2" fmla="*/ 10311345 w 12695865"/>
              <a:gd name="connsiteY2" fmla="*/ 6036691 h 7287592"/>
              <a:gd name="connsiteX3" fmla="*/ 7848321 w 12695865"/>
              <a:gd name="connsiteY3" fmla="*/ 6354305 h 7287592"/>
              <a:gd name="connsiteX4" fmla="*/ 8104991 w 12695865"/>
              <a:gd name="connsiteY4" fmla="*/ 6087878 h 7287592"/>
              <a:gd name="connsiteX5" fmla="*/ 8557333 w 12695865"/>
              <a:gd name="connsiteY5" fmla="*/ 5654250 h 7287592"/>
              <a:gd name="connsiteX6" fmla="*/ 8513989 w 12695865"/>
              <a:gd name="connsiteY6" fmla="*/ 5695171 h 7287592"/>
              <a:gd name="connsiteX7" fmla="*/ 9663071 w 12695865"/>
              <a:gd name="connsiteY7" fmla="*/ 4936695 h 7287592"/>
              <a:gd name="connsiteX8" fmla="*/ 12541795 w 12695865"/>
              <a:gd name="connsiteY8" fmla="*/ 4534420 h 7287592"/>
              <a:gd name="connsiteX9" fmla="*/ 12695865 w 12695865"/>
              <a:gd name="connsiteY9" fmla="*/ 5729200 h 7287592"/>
              <a:gd name="connsiteX10" fmla="*/ 10900128 w 12695865"/>
              <a:gd name="connsiteY10" fmla="*/ 5960765 h 7287592"/>
              <a:gd name="connsiteX11" fmla="*/ 10946590 w 12695865"/>
              <a:gd name="connsiteY11" fmla="*/ 5897077 h 7287592"/>
              <a:gd name="connsiteX12" fmla="*/ 12448100 w 12695865"/>
              <a:gd name="connsiteY12" fmla="*/ 4561770 h 7287592"/>
              <a:gd name="connsiteX13" fmla="*/ 1370551 w 12695865"/>
              <a:gd name="connsiteY13" fmla="*/ 351679 h 7287592"/>
              <a:gd name="connsiteX14" fmla="*/ 4097748 w 12695865"/>
              <a:gd name="connsiteY14" fmla="*/ 0 h 7287592"/>
              <a:gd name="connsiteX15" fmla="*/ 4040937 w 12695865"/>
              <a:gd name="connsiteY15" fmla="*/ 206166 h 7287592"/>
              <a:gd name="connsiteX16" fmla="*/ 3126329 w 12695865"/>
              <a:gd name="connsiteY16" fmla="*/ 4987643 h 7287592"/>
              <a:gd name="connsiteX17" fmla="*/ 5213612 w 12695865"/>
              <a:gd name="connsiteY17" fmla="*/ 6403045 h 7287592"/>
              <a:gd name="connsiteX18" fmla="*/ 5130314 w 12695865"/>
              <a:gd name="connsiteY18" fmla="*/ 6704801 h 7287592"/>
              <a:gd name="connsiteX19" fmla="*/ 610910 w 12695865"/>
              <a:gd name="connsiteY19" fmla="*/ 7287592 h 7287592"/>
              <a:gd name="connsiteX20" fmla="*/ 627644 w 12695865"/>
              <a:gd name="connsiteY20" fmla="*/ 7128260 h 7287592"/>
              <a:gd name="connsiteX21" fmla="*/ 1900910 w 12695865"/>
              <a:gd name="connsiteY21" fmla="*/ 1224060 h 7287592"/>
              <a:gd name="connsiteX22" fmla="*/ 629083 w 12695865"/>
              <a:gd name="connsiteY22" fmla="*/ 3725990 h 7287592"/>
              <a:gd name="connsiteX23" fmla="*/ 251309 w 12695865"/>
              <a:gd name="connsiteY23" fmla="*/ 4553535 h 7287592"/>
              <a:gd name="connsiteX24" fmla="*/ 0 w 12695865"/>
              <a:gd name="connsiteY24" fmla="*/ 2604695 h 7287592"/>
              <a:gd name="connsiteX25" fmla="*/ 2386 w 12695865"/>
              <a:gd name="connsiteY25" fmla="*/ 2600336 h 7287592"/>
              <a:gd name="connsiteX26" fmla="*/ 1325283 w 12695865"/>
              <a:gd name="connsiteY26" fmla="*/ 419479 h 728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695865" h="7287592">
                <a:moveTo>
                  <a:pt x="9663071" y="4936695"/>
                </a:moveTo>
                <a:cubicBezTo>
                  <a:pt x="10060600" y="4894909"/>
                  <a:pt x="10268482" y="5244305"/>
                  <a:pt x="10305791" y="5792294"/>
                </a:cubicBezTo>
                <a:lnTo>
                  <a:pt x="10311345" y="6036691"/>
                </a:lnTo>
                <a:lnTo>
                  <a:pt x="7848321" y="6354305"/>
                </a:lnTo>
                <a:lnTo>
                  <a:pt x="8104991" y="6087878"/>
                </a:lnTo>
                <a:cubicBezTo>
                  <a:pt x="8252505" y="5940608"/>
                  <a:pt x="8403221" y="5796001"/>
                  <a:pt x="8557333" y="5654250"/>
                </a:cubicBezTo>
                <a:lnTo>
                  <a:pt x="8513989" y="5695171"/>
                </a:lnTo>
                <a:cubicBezTo>
                  <a:pt x="8998410" y="5195972"/>
                  <a:pt x="9379120" y="4966542"/>
                  <a:pt x="9663071" y="4936695"/>
                </a:cubicBezTo>
                <a:close/>
                <a:moveTo>
                  <a:pt x="12541795" y="4534420"/>
                </a:moveTo>
                <a:lnTo>
                  <a:pt x="12695865" y="5729200"/>
                </a:lnTo>
                <a:lnTo>
                  <a:pt x="10900128" y="5960765"/>
                </a:lnTo>
                <a:lnTo>
                  <a:pt x="10946590" y="5897077"/>
                </a:lnTo>
                <a:cubicBezTo>
                  <a:pt x="11371257" y="5326275"/>
                  <a:pt x="11838265" y="4782811"/>
                  <a:pt x="12448100" y="4561770"/>
                </a:cubicBezTo>
                <a:close/>
                <a:moveTo>
                  <a:pt x="1370551" y="351679"/>
                </a:moveTo>
                <a:lnTo>
                  <a:pt x="4097748" y="0"/>
                </a:lnTo>
                <a:lnTo>
                  <a:pt x="4040937" y="206166"/>
                </a:lnTo>
                <a:cubicBezTo>
                  <a:pt x="3490251" y="2200230"/>
                  <a:pt x="2877792" y="4387758"/>
                  <a:pt x="3126329" y="4987643"/>
                </a:cubicBezTo>
                <a:cubicBezTo>
                  <a:pt x="6193293" y="1106531"/>
                  <a:pt x="6065499" y="3229140"/>
                  <a:pt x="5213612" y="6403045"/>
                </a:cubicBezTo>
                <a:lnTo>
                  <a:pt x="5130314" y="6704801"/>
                </a:lnTo>
                <a:lnTo>
                  <a:pt x="610910" y="7287592"/>
                </a:lnTo>
                <a:lnTo>
                  <a:pt x="627644" y="7128260"/>
                </a:lnTo>
                <a:cubicBezTo>
                  <a:pt x="875017" y="5047620"/>
                  <a:pt x="1616591" y="2236346"/>
                  <a:pt x="1900910" y="1224060"/>
                </a:cubicBezTo>
                <a:cubicBezTo>
                  <a:pt x="1445282" y="2042854"/>
                  <a:pt x="1026698" y="2879400"/>
                  <a:pt x="629083" y="3725990"/>
                </a:cubicBezTo>
                <a:lnTo>
                  <a:pt x="251309" y="4553535"/>
                </a:lnTo>
                <a:lnTo>
                  <a:pt x="0" y="2604695"/>
                </a:lnTo>
                <a:lnTo>
                  <a:pt x="2386" y="2600336"/>
                </a:lnTo>
                <a:cubicBezTo>
                  <a:pt x="429300" y="1840867"/>
                  <a:pt x="876718" y="1104271"/>
                  <a:pt x="1325283" y="419479"/>
                </a:cubicBez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8FC8295C-3D67-1A2A-D3FF-3587A0DDF7AD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9CC6FB-50A5-8E85-2352-EFD550F00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59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dient background">
            <a:extLst>
              <a:ext uri="{FF2B5EF4-FFF2-40B4-BE49-F238E27FC236}">
                <a16:creationId xmlns:a16="http://schemas.microsoft.com/office/drawing/2014/main" id="{FF4FA843-E9AB-E4D0-4382-8A499820EF9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quiggle">
            <a:extLst>
              <a:ext uri="{FF2B5EF4-FFF2-40B4-BE49-F238E27FC236}">
                <a16:creationId xmlns:a16="http://schemas.microsoft.com/office/drawing/2014/main" id="{751B40F4-B93C-487C-7153-09E178C1455F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D54D6AB9-BB50-7A8E-96E0-70DFABB05129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2A26B-B15B-78FA-A387-E9C046AE6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1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light blue sw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BAF5E0ED-0333-392E-AB78-7C19A767D9DA}"/>
              </a:ext>
            </a:extLst>
          </p:cNvPr>
          <p:cNvSpPr/>
          <p:nvPr userDrawn="1"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3C3DFE9-7B51-03ED-E3F6-9296D2ECF020}"/>
              </a:ext>
            </a:extLst>
          </p:cNvPr>
          <p:cNvSpPr>
            <a:spLocks/>
          </p:cNvSpPr>
          <p:nvPr userDrawn="1"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Blue Block">
            <a:extLst>
              <a:ext uri="{FF2B5EF4-FFF2-40B4-BE49-F238E27FC236}">
                <a16:creationId xmlns:a16="http://schemas.microsoft.com/office/drawing/2014/main" id="{7AD4D1C8-300A-85EA-CD84-2E0586AD7D57}"/>
              </a:ext>
            </a:extLst>
          </p:cNvPr>
          <p:cNvSpPr>
            <a:spLocks/>
          </p:cNvSpPr>
          <p:nvPr/>
        </p:nvSpPr>
        <p:spPr bwMode="white">
          <a:xfrm>
            <a:off x="0" y="-1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9AD7562C-8257-11ED-C6EF-B20B75504B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E8877920-AA15-4721-9894-E5C6B06DA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517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207">
          <p15:clr>
            <a:srgbClr val="FBAE40"/>
          </p15:clr>
        </p15:guide>
        <p15:guide id="3" orient="horz" pos="16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woo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dient Background">
            <a:extLst>
              <a:ext uri="{FF2B5EF4-FFF2-40B4-BE49-F238E27FC236}">
                <a16:creationId xmlns:a16="http://schemas.microsoft.com/office/drawing/2014/main" id="{7BDE401D-4346-E214-A278-26C52B091835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2" name="Squiggle">
            <a:extLst>
              <a:ext uri="{FF2B5EF4-FFF2-40B4-BE49-F238E27FC236}">
                <a16:creationId xmlns:a16="http://schemas.microsoft.com/office/drawing/2014/main" id="{92B22213-A051-71E7-9A41-11A3E82568DA}"/>
              </a:ext>
            </a:extLst>
          </p:cNvPr>
          <p:cNvSpPr>
            <a:spLocks/>
          </p:cNvSpPr>
          <p:nvPr userDrawn="1"/>
        </p:nvSpPr>
        <p:spPr bwMode="ltGray">
          <a:xfrm rot="8762903">
            <a:off x="-918620" y="638750"/>
            <a:ext cx="13864612" cy="6245410"/>
          </a:xfrm>
          <a:custGeom>
            <a:avLst/>
            <a:gdLst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996876 w 6958630"/>
              <a:gd name="connsiteY11" fmla="*/ 4908063 h 5352044"/>
              <a:gd name="connsiteX12" fmla="*/ 1398177 w 6958630"/>
              <a:gd name="connsiteY12" fmla="*/ 4201072 h 5352044"/>
              <a:gd name="connsiteX13" fmla="*/ 1590566 w 6958630"/>
              <a:gd name="connsiteY13" fmla="*/ 3604919 h 5352044"/>
              <a:gd name="connsiteX14" fmla="*/ 1974502 w 6958630"/>
              <a:gd name="connsiteY14" fmla="*/ 2496593 h 5352044"/>
              <a:gd name="connsiteX15" fmla="*/ 2349059 w 6958630"/>
              <a:gd name="connsiteY15" fmla="*/ 1514660 h 5352044"/>
              <a:gd name="connsiteX16" fmla="*/ 2474209 w 6958630"/>
              <a:gd name="connsiteY16" fmla="*/ 1195792 h 5352044"/>
              <a:gd name="connsiteX17" fmla="*/ 2595638 w 6958630"/>
              <a:gd name="connsiteY17" fmla="*/ 980346 h 5352044"/>
              <a:gd name="connsiteX18" fmla="*/ 3160829 w 6958630"/>
              <a:gd name="connsiteY18" fmla="*/ 512585 h 5352044"/>
              <a:gd name="connsiteX19" fmla="*/ 3435866 w 6958630"/>
              <a:gd name="connsiteY19" fmla="*/ 585618 h 5352044"/>
              <a:gd name="connsiteX20" fmla="*/ 3450660 w 6958630"/>
              <a:gd name="connsiteY20" fmla="*/ 838639 h 5352044"/>
              <a:gd name="connsiteX21" fmla="*/ 3404013 w 6958630"/>
              <a:gd name="connsiteY21" fmla="*/ 1499936 h 5352044"/>
              <a:gd name="connsiteX22" fmla="*/ 3313870 w 6958630"/>
              <a:gd name="connsiteY22" fmla="*/ 2850918 h 5352044"/>
              <a:gd name="connsiteX23" fmla="*/ 3369572 w 6958630"/>
              <a:gd name="connsiteY23" fmla="*/ 2686006 h 5352044"/>
              <a:gd name="connsiteX24" fmla="*/ 3706860 w 6958630"/>
              <a:gd name="connsiteY24" fmla="*/ 1716324 h 5352044"/>
              <a:gd name="connsiteX25" fmla="*/ 3936380 w 6958630"/>
              <a:gd name="connsiteY25" fmla="*/ 1155977 h 5352044"/>
              <a:gd name="connsiteX26" fmla="*/ 4337132 w 6958630"/>
              <a:gd name="connsiteY26" fmla="*/ 522126 h 5352044"/>
              <a:gd name="connsiteX27" fmla="*/ 4436557 w 6958630"/>
              <a:gd name="connsiteY27" fmla="*/ 425574 h 5352044"/>
              <a:gd name="connsiteX28" fmla="*/ 4508920 w 6958630"/>
              <a:gd name="connsiteY28" fmla="*/ 367382 h 5352044"/>
              <a:gd name="connsiteX29" fmla="*/ 5115640 w 6958630"/>
              <a:gd name="connsiteY29" fmla="*/ 1083845 h 5352044"/>
              <a:gd name="connsiteX30" fmla="*/ 5115018 w 6958630"/>
              <a:gd name="connsiteY30" fmla="*/ 1096653 h 5352044"/>
              <a:gd name="connsiteX31" fmla="*/ 5091987 w 6958630"/>
              <a:gd name="connsiteY31" fmla="*/ 1380611 h 5352044"/>
              <a:gd name="connsiteX32" fmla="*/ 5018983 w 6958630"/>
              <a:gd name="connsiteY32" fmla="*/ 2135554 h 5352044"/>
              <a:gd name="connsiteX33" fmla="*/ 4977834 w 6958630"/>
              <a:gd name="connsiteY33" fmla="*/ 2587648 h 5352044"/>
              <a:gd name="connsiteX34" fmla="*/ 5285289 w 6958630"/>
              <a:gd name="connsiteY34" fmla="*/ 2003389 h 5352044"/>
              <a:gd name="connsiteX35" fmla="*/ 5453822 w 6958630"/>
              <a:gd name="connsiteY35" fmla="*/ 1744212 h 5352044"/>
              <a:gd name="connsiteX36" fmla="*/ 5559908 w 6958630"/>
              <a:gd name="connsiteY36" fmla="*/ 1608472 h 5352044"/>
              <a:gd name="connsiteX37" fmla="*/ 6798419 w 6958630"/>
              <a:gd name="connsiteY37" fmla="*/ 3071005 h 5352044"/>
              <a:gd name="connsiteX38" fmla="*/ 6799849 w 6958630"/>
              <a:gd name="connsiteY38" fmla="*/ 3148467 h 5352044"/>
              <a:gd name="connsiteX39" fmla="*/ 6825478 w 6958630"/>
              <a:gd name="connsiteY39" fmla="*/ 3218437 h 5352044"/>
              <a:gd name="connsiteX40" fmla="*/ 6835906 w 6958630"/>
              <a:gd name="connsiteY40" fmla="*/ 3236811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825478 w 6958630"/>
              <a:gd name="connsiteY40" fmla="*/ 3218437 h 5352044"/>
              <a:gd name="connsiteX41" fmla="*/ 6904383 w 6958630"/>
              <a:gd name="connsiteY41" fmla="*/ 3276626 h 5352044"/>
              <a:gd name="connsiteX42" fmla="*/ 6958630 w 6958630"/>
              <a:gd name="connsiteY42" fmla="*/ 3303366 h 5352044"/>
              <a:gd name="connsiteX43" fmla="*/ 6929041 w 6958630"/>
              <a:gd name="connsiteY43" fmla="*/ 3371333 h 5352044"/>
              <a:gd name="connsiteX44" fmla="*/ 6842183 w 6958630"/>
              <a:gd name="connsiteY44" fmla="*/ 3496813 h 5352044"/>
              <a:gd name="connsiteX45" fmla="*/ 6752598 w 6958630"/>
              <a:gd name="connsiteY45" fmla="*/ 3590980 h 5352044"/>
              <a:gd name="connsiteX46" fmla="*/ 6636435 w 6958630"/>
              <a:gd name="connsiteY46" fmla="*/ 3689350 h 5352044"/>
              <a:gd name="connsiteX47" fmla="*/ 6534262 w 6958630"/>
              <a:gd name="connsiteY47" fmla="*/ 3751543 h 5352044"/>
              <a:gd name="connsiteX48" fmla="*/ 6311623 w 6958630"/>
              <a:gd name="connsiteY48" fmla="*/ 3821071 h 5352044"/>
              <a:gd name="connsiteX49" fmla="*/ 6205393 w 6958630"/>
              <a:gd name="connsiteY49" fmla="*/ 3821425 h 5352044"/>
              <a:gd name="connsiteX50" fmla="*/ 6113794 w 6958630"/>
              <a:gd name="connsiteY50" fmla="*/ 3789856 h 5352044"/>
              <a:gd name="connsiteX51" fmla="*/ 5957763 w 6958630"/>
              <a:gd name="connsiteY51" fmla="*/ 3645087 h 5352044"/>
              <a:gd name="connsiteX52" fmla="*/ 5871500 w 6958630"/>
              <a:gd name="connsiteY52" fmla="*/ 3407024 h 5352044"/>
              <a:gd name="connsiteX53" fmla="*/ 5850157 w 6958630"/>
              <a:gd name="connsiteY53" fmla="*/ 3228802 h 5352044"/>
              <a:gd name="connsiteX54" fmla="*/ 5855735 w 6958630"/>
              <a:gd name="connsiteY54" fmla="*/ 2702379 h 5352044"/>
              <a:gd name="connsiteX55" fmla="*/ 5851694 w 6958630"/>
              <a:gd name="connsiteY55" fmla="*/ 2416140 h 5352044"/>
              <a:gd name="connsiteX56" fmla="*/ 5849753 w 6958630"/>
              <a:gd name="connsiteY56" fmla="*/ 2339220 h 5352044"/>
              <a:gd name="connsiteX57" fmla="*/ 5526775 w 6958630"/>
              <a:gd name="connsiteY57" fmla="*/ 3089687 h 5352044"/>
              <a:gd name="connsiteX58" fmla="*/ 5318032 w 6958630"/>
              <a:gd name="connsiteY58" fmla="*/ 3567460 h 5352044"/>
              <a:gd name="connsiteX59" fmla="*/ 5075333 w 6958630"/>
              <a:gd name="connsiteY59" fmla="*/ 3948996 h 5352044"/>
              <a:gd name="connsiteX60" fmla="*/ 4924556 w 6958630"/>
              <a:gd name="connsiteY60" fmla="*/ 4127219 h 5352044"/>
              <a:gd name="connsiteX61" fmla="*/ 4635048 w 6958630"/>
              <a:gd name="connsiteY61" fmla="*/ 4368343 h 5352044"/>
              <a:gd name="connsiteX62" fmla="*/ 4359931 w 6958630"/>
              <a:gd name="connsiteY62" fmla="*/ 4482250 h 5352044"/>
              <a:gd name="connsiteX63" fmla="*/ 4263401 w 6958630"/>
              <a:gd name="connsiteY63" fmla="*/ 4484960 h 5352044"/>
              <a:gd name="connsiteX64" fmla="*/ 3999117 w 6958630"/>
              <a:gd name="connsiteY64" fmla="*/ 4107900 h 5352044"/>
              <a:gd name="connsiteX65" fmla="*/ 3984242 w 6958630"/>
              <a:gd name="connsiteY65" fmla="*/ 3763234 h 5352044"/>
              <a:gd name="connsiteX66" fmla="*/ 4001623 w 6958630"/>
              <a:gd name="connsiteY66" fmla="*/ 3345301 h 5352044"/>
              <a:gd name="connsiteX67" fmla="*/ 4018520 w 6958630"/>
              <a:gd name="connsiteY67" fmla="*/ 3140220 h 5352044"/>
              <a:gd name="connsiteX68" fmla="*/ 3918918 w 6958630"/>
              <a:gd name="connsiteY68" fmla="*/ 3442952 h 5352044"/>
              <a:gd name="connsiteX69" fmla="*/ 3739925 w 6958630"/>
              <a:gd name="connsiteY69" fmla="*/ 3941692 h 5352044"/>
              <a:gd name="connsiteX70" fmla="*/ 3266332 w 6958630"/>
              <a:gd name="connsiteY70" fmla="*/ 4905602 h 5352044"/>
              <a:gd name="connsiteX71" fmla="*/ 2513418 w 6958630"/>
              <a:gd name="connsiteY71" fmla="*/ 5349452 h 5352044"/>
              <a:gd name="connsiteX72" fmla="*/ 2277187 w 6958630"/>
              <a:gd name="connsiteY72" fmla="*/ 4857072 h 5352044"/>
              <a:gd name="connsiteX73" fmla="*/ 2326260 w 6958630"/>
              <a:gd name="connsiteY73" fmla="*/ 3819775 h 5352044"/>
              <a:gd name="connsiteX74" fmla="*/ 2048658 w 6958630"/>
              <a:gd name="connsiteY74" fmla="*/ 4760224 h 5352044"/>
              <a:gd name="connsiteX75" fmla="*/ 1996876 w 6958630"/>
              <a:gd name="connsiteY75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799849 w 6958630"/>
              <a:gd name="connsiteY39" fmla="*/ 3148467 h 5352044"/>
              <a:gd name="connsiteX40" fmla="*/ 6904383 w 6958630"/>
              <a:gd name="connsiteY40" fmla="*/ 3276626 h 5352044"/>
              <a:gd name="connsiteX41" fmla="*/ 6958630 w 6958630"/>
              <a:gd name="connsiteY41" fmla="*/ 3303366 h 5352044"/>
              <a:gd name="connsiteX42" fmla="*/ 6929041 w 6958630"/>
              <a:gd name="connsiteY42" fmla="*/ 3371333 h 5352044"/>
              <a:gd name="connsiteX43" fmla="*/ 6842183 w 6958630"/>
              <a:gd name="connsiteY43" fmla="*/ 3496813 h 5352044"/>
              <a:gd name="connsiteX44" fmla="*/ 6752598 w 6958630"/>
              <a:gd name="connsiteY44" fmla="*/ 3590980 h 5352044"/>
              <a:gd name="connsiteX45" fmla="*/ 6636435 w 6958630"/>
              <a:gd name="connsiteY45" fmla="*/ 3689350 h 5352044"/>
              <a:gd name="connsiteX46" fmla="*/ 6534262 w 6958630"/>
              <a:gd name="connsiteY46" fmla="*/ 3751543 h 5352044"/>
              <a:gd name="connsiteX47" fmla="*/ 6311623 w 6958630"/>
              <a:gd name="connsiteY47" fmla="*/ 3821071 h 5352044"/>
              <a:gd name="connsiteX48" fmla="*/ 6205393 w 6958630"/>
              <a:gd name="connsiteY48" fmla="*/ 3821425 h 5352044"/>
              <a:gd name="connsiteX49" fmla="*/ 6113794 w 6958630"/>
              <a:gd name="connsiteY49" fmla="*/ 3789856 h 5352044"/>
              <a:gd name="connsiteX50" fmla="*/ 5957763 w 6958630"/>
              <a:gd name="connsiteY50" fmla="*/ 3645087 h 5352044"/>
              <a:gd name="connsiteX51" fmla="*/ 5871500 w 6958630"/>
              <a:gd name="connsiteY51" fmla="*/ 3407024 h 5352044"/>
              <a:gd name="connsiteX52" fmla="*/ 5850157 w 6958630"/>
              <a:gd name="connsiteY52" fmla="*/ 3228802 h 5352044"/>
              <a:gd name="connsiteX53" fmla="*/ 5855735 w 6958630"/>
              <a:gd name="connsiteY53" fmla="*/ 2702379 h 5352044"/>
              <a:gd name="connsiteX54" fmla="*/ 5851694 w 6958630"/>
              <a:gd name="connsiteY54" fmla="*/ 2416140 h 5352044"/>
              <a:gd name="connsiteX55" fmla="*/ 5849753 w 6958630"/>
              <a:gd name="connsiteY55" fmla="*/ 2339220 h 5352044"/>
              <a:gd name="connsiteX56" fmla="*/ 5526775 w 6958630"/>
              <a:gd name="connsiteY56" fmla="*/ 3089687 h 5352044"/>
              <a:gd name="connsiteX57" fmla="*/ 5318032 w 6958630"/>
              <a:gd name="connsiteY57" fmla="*/ 3567460 h 5352044"/>
              <a:gd name="connsiteX58" fmla="*/ 5075333 w 6958630"/>
              <a:gd name="connsiteY58" fmla="*/ 3948996 h 5352044"/>
              <a:gd name="connsiteX59" fmla="*/ 4924556 w 6958630"/>
              <a:gd name="connsiteY59" fmla="*/ 4127219 h 5352044"/>
              <a:gd name="connsiteX60" fmla="*/ 4635048 w 6958630"/>
              <a:gd name="connsiteY60" fmla="*/ 4368343 h 5352044"/>
              <a:gd name="connsiteX61" fmla="*/ 4359931 w 6958630"/>
              <a:gd name="connsiteY61" fmla="*/ 4482250 h 5352044"/>
              <a:gd name="connsiteX62" fmla="*/ 4263401 w 6958630"/>
              <a:gd name="connsiteY62" fmla="*/ 4484960 h 5352044"/>
              <a:gd name="connsiteX63" fmla="*/ 3999117 w 6958630"/>
              <a:gd name="connsiteY63" fmla="*/ 4107900 h 5352044"/>
              <a:gd name="connsiteX64" fmla="*/ 3984242 w 6958630"/>
              <a:gd name="connsiteY64" fmla="*/ 3763234 h 5352044"/>
              <a:gd name="connsiteX65" fmla="*/ 4001623 w 6958630"/>
              <a:gd name="connsiteY65" fmla="*/ 3345301 h 5352044"/>
              <a:gd name="connsiteX66" fmla="*/ 4018520 w 6958630"/>
              <a:gd name="connsiteY66" fmla="*/ 3140220 h 5352044"/>
              <a:gd name="connsiteX67" fmla="*/ 3918918 w 6958630"/>
              <a:gd name="connsiteY67" fmla="*/ 3442952 h 5352044"/>
              <a:gd name="connsiteX68" fmla="*/ 3739925 w 6958630"/>
              <a:gd name="connsiteY68" fmla="*/ 3941692 h 5352044"/>
              <a:gd name="connsiteX69" fmla="*/ 3266332 w 6958630"/>
              <a:gd name="connsiteY69" fmla="*/ 4905602 h 5352044"/>
              <a:gd name="connsiteX70" fmla="*/ 2513418 w 6958630"/>
              <a:gd name="connsiteY70" fmla="*/ 5349452 h 5352044"/>
              <a:gd name="connsiteX71" fmla="*/ 2277187 w 6958630"/>
              <a:gd name="connsiteY71" fmla="*/ 4857072 h 5352044"/>
              <a:gd name="connsiteX72" fmla="*/ 2326260 w 6958630"/>
              <a:gd name="connsiteY72" fmla="*/ 3819775 h 5352044"/>
              <a:gd name="connsiteX73" fmla="*/ 2048658 w 6958630"/>
              <a:gd name="connsiteY73" fmla="*/ 4760224 h 5352044"/>
              <a:gd name="connsiteX74" fmla="*/ 1996876 w 6958630"/>
              <a:gd name="connsiteY74" fmla="*/ 4908063 h 5352044"/>
              <a:gd name="connsiteX0" fmla="*/ 1075189 w 6958630"/>
              <a:gd name="connsiteY0" fmla="*/ 3819662 h 5352044"/>
              <a:gd name="connsiteX1" fmla="*/ 0 w 6958630"/>
              <a:gd name="connsiteY1" fmla="*/ 2549993 h 5352044"/>
              <a:gd name="connsiteX2" fmla="*/ 273834 w 6958630"/>
              <a:gd name="connsiteY2" fmla="*/ 1601357 h 5352044"/>
              <a:gd name="connsiteX3" fmla="*/ 455464 w 6958630"/>
              <a:gd name="connsiteY3" fmla="*/ 992346 h 5352044"/>
              <a:gd name="connsiteX4" fmla="*/ 482058 w 6958630"/>
              <a:gd name="connsiteY4" fmla="*/ 912917 h 5352044"/>
              <a:gd name="connsiteX5" fmla="*/ 1560103 w 6958630"/>
              <a:gd name="connsiteY5" fmla="*/ 0 h 5352044"/>
              <a:gd name="connsiteX6" fmla="*/ 1563049 w 6958630"/>
              <a:gd name="connsiteY6" fmla="*/ 19661 h 5352044"/>
              <a:gd name="connsiteX7" fmla="*/ 1535672 w 6958630"/>
              <a:gd name="connsiteY7" fmla="*/ 208675 h 5352044"/>
              <a:gd name="connsiteX8" fmla="*/ 1431946 w 6958630"/>
              <a:gd name="connsiteY8" fmla="*/ 705650 h 5352044"/>
              <a:gd name="connsiteX9" fmla="*/ 1308739 w 6958630"/>
              <a:gd name="connsiteY9" fmla="*/ 1469663 h 5352044"/>
              <a:gd name="connsiteX10" fmla="*/ 1089432 w 6958630"/>
              <a:gd name="connsiteY10" fmla="*/ 3521397 h 5352044"/>
              <a:gd name="connsiteX11" fmla="*/ 1075189 w 6958630"/>
              <a:gd name="connsiteY11" fmla="*/ 3819662 h 5352044"/>
              <a:gd name="connsiteX12" fmla="*/ 1996876 w 6958630"/>
              <a:gd name="connsiteY12" fmla="*/ 4908063 h 5352044"/>
              <a:gd name="connsiteX13" fmla="*/ 1398177 w 6958630"/>
              <a:gd name="connsiteY13" fmla="*/ 4201072 h 5352044"/>
              <a:gd name="connsiteX14" fmla="*/ 1590566 w 6958630"/>
              <a:gd name="connsiteY14" fmla="*/ 3604919 h 5352044"/>
              <a:gd name="connsiteX15" fmla="*/ 1974502 w 6958630"/>
              <a:gd name="connsiteY15" fmla="*/ 2496593 h 5352044"/>
              <a:gd name="connsiteX16" fmla="*/ 2349059 w 6958630"/>
              <a:gd name="connsiteY16" fmla="*/ 1514660 h 5352044"/>
              <a:gd name="connsiteX17" fmla="*/ 2474209 w 6958630"/>
              <a:gd name="connsiteY17" fmla="*/ 1195792 h 5352044"/>
              <a:gd name="connsiteX18" fmla="*/ 2595638 w 6958630"/>
              <a:gd name="connsiteY18" fmla="*/ 980346 h 5352044"/>
              <a:gd name="connsiteX19" fmla="*/ 3160829 w 6958630"/>
              <a:gd name="connsiteY19" fmla="*/ 512585 h 5352044"/>
              <a:gd name="connsiteX20" fmla="*/ 3435866 w 6958630"/>
              <a:gd name="connsiteY20" fmla="*/ 585618 h 5352044"/>
              <a:gd name="connsiteX21" fmla="*/ 3450660 w 6958630"/>
              <a:gd name="connsiteY21" fmla="*/ 838639 h 5352044"/>
              <a:gd name="connsiteX22" fmla="*/ 3404013 w 6958630"/>
              <a:gd name="connsiteY22" fmla="*/ 1499936 h 5352044"/>
              <a:gd name="connsiteX23" fmla="*/ 3313870 w 6958630"/>
              <a:gd name="connsiteY23" fmla="*/ 2850918 h 5352044"/>
              <a:gd name="connsiteX24" fmla="*/ 3369572 w 6958630"/>
              <a:gd name="connsiteY24" fmla="*/ 2686006 h 5352044"/>
              <a:gd name="connsiteX25" fmla="*/ 3706860 w 6958630"/>
              <a:gd name="connsiteY25" fmla="*/ 1716324 h 5352044"/>
              <a:gd name="connsiteX26" fmla="*/ 3936380 w 6958630"/>
              <a:gd name="connsiteY26" fmla="*/ 1155977 h 5352044"/>
              <a:gd name="connsiteX27" fmla="*/ 4337132 w 6958630"/>
              <a:gd name="connsiteY27" fmla="*/ 522126 h 5352044"/>
              <a:gd name="connsiteX28" fmla="*/ 4436557 w 6958630"/>
              <a:gd name="connsiteY28" fmla="*/ 425574 h 5352044"/>
              <a:gd name="connsiteX29" fmla="*/ 4508920 w 6958630"/>
              <a:gd name="connsiteY29" fmla="*/ 367382 h 5352044"/>
              <a:gd name="connsiteX30" fmla="*/ 5115640 w 6958630"/>
              <a:gd name="connsiteY30" fmla="*/ 1083845 h 5352044"/>
              <a:gd name="connsiteX31" fmla="*/ 5115018 w 6958630"/>
              <a:gd name="connsiteY31" fmla="*/ 1096653 h 5352044"/>
              <a:gd name="connsiteX32" fmla="*/ 5091987 w 6958630"/>
              <a:gd name="connsiteY32" fmla="*/ 1380611 h 5352044"/>
              <a:gd name="connsiteX33" fmla="*/ 5018983 w 6958630"/>
              <a:gd name="connsiteY33" fmla="*/ 2135554 h 5352044"/>
              <a:gd name="connsiteX34" fmla="*/ 4977834 w 6958630"/>
              <a:gd name="connsiteY34" fmla="*/ 2587648 h 5352044"/>
              <a:gd name="connsiteX35" fmla="*/ 5285289 w 6958630"/>
              <a:gd name="connsiteY35" fmla="*/ 2003389 h 5352044"/>
              <a:gd name="connsiteX36" fmla="*/ 5453822 w 6958630"/>
              <a:gd name="connsiteY36" fmla="*/ 1744212 h 5352044"/>
              <a:gd name="connsiteX37" fmla="*/ 5559908 w 6958630"/>
              <a:gd name="connsiteY37" fmla="*/ 1608472 h 5352044"/>
              <a:gd name="connsiteX38" fmla="*/ 6798419 w 6958630"/>
              <a:gd name="connsiteY38" fmla="*/ 3071005 h 5352044"/>
              <a:gd name="connsiteX39" fmla="*/ 6904383 w 6958630"/>
              <a:gd name="connsiteY39" fmla="*/ 3276626 h 5352044"/>
              <a:gd name="connsiteX40" fmla="*/ 6958630 w 6958630"/>
              <a:gd name="connsiteY40" fmla="*/ 3303366 h 5352044"/>
              <a:gd name="connsiteX41" fmla="*/ 6929041 w 6958630"/>
              <a:gd name="connsiteY41" fmla="*/ 3371333 h 5352044"/>
              <a:gd name="connsiteX42" fmla="*/ 6842183 w 6958630"/>
              <a:gd name="connsiteY42" fmla="*/ 3496813 h 5352044"/>
              <a:gd name="connsiteX43" fmla="*/ 6752598 w 6958630"/>
              <a:gd name="connsiteY43" fmla="*/ 3590980 h 5352044"/>
              <a:gd name="connsiteX44" fmla="*/ 6636435 w 6958630"/>
              <a:gd name="connsiteY44" fmla="*/ 3689350 h 5352044"/>
              <a:gd name="connsiteX45" fmla="*/ 6534262 w 6958630"/>
              <a:gd name="connsiteY45" fmla="*/ 3751543 h 5352044"/>
              <a:gd name="connsiteX46" fmla="*/ 6311623 w 6958630"/>
              <a:gd name="connsiteY46" fmla="*/ 3821071 h 5352044"/>
              <a:gd name="connsiteX47" fmla="*/ 6205393 w 6958630"/>
              <a:gd name="connsiteY47" fmla="*/ 3821425 h 5352044"/>
              <a:gd name="connsiteX48" fmla="*/ 6113794 w 6958630"/>
              <a:gd name="connsiteY48" fmla="*/ 3789856 h 5352044"/>
              <a:gd name="connsiteX49" fmla="*/ 5957763 w 6958630"/>
              <a:gd name="connsiteY49" fmla="*/ 3645087 h 5352044"/>
              <a:gd name="connsiteX50" fmla="*/ 5871500 w 6958630"/>
              <a:gd name="connsiteY50" fmla="*/ 3407024 h 5352044"/>
              <a:gd name="connsiteX51" fmla="*/ 5850157 w 6958630"/>
              <a:gd name="connsiteY51" fmla="*/ 3228802 h 5352044"/>
              <a:gd name="connsiteX52" fmla="*/ 5855735 w 6958630"/>
              <a:gd name="connsiteY52" fmla="*/ 2702379 h 5352044"/>
              <a:gd name="connsiteX53" fmla="*/ 5851694 w 6958630"/>
              <a:gd name="connsiteY53" fmla="*/ 2416140 h 5352044"/>
              <a:gd name="connsiteX54" fmla="*/ 5849753 w 6958630"/>
              <a:gd name="connsiteY54" fmla="*/ 2339220 h 5352044"/>
              <a:gd name="connsiteX55" fmla="*/ 5526775 w 6958630"/>
              <a:gd name="connsiteY55" fmla="*/ 3089687 h 5352044"/>
              <a:gd name="connsiteX56" fmla="*/ 5318032 w 6958630"/>
              <a:gd name="connsiteY56" fmla="*/ 3567460 h 5352044"/>
              <a:gd name="connsiteX57" fmla="*/ 5075333 w 6958630"/>
              <a:gd name="connsiteY57" fmla="*/ 3948996 h 5352044"/>
              <a:gd name="connsiteX58" fmla="*/ 4924556 w 6958630"/>
              <a:gd name="connsiteY58" fmla="*/ 4127219 h 5352044"/>
              <a:gd name="connsiteX59" fmla="*/ 4635048 w 6958630"/>
              <a:gd name="connsiteY59" fmla="*/ 4368343 h 5352044"/>
              <a:gd name="connsiteX60" fmla="*/ 4359931 w 6958630"/>
              <a:gd name="connsiteY60" fmla="*/ 4482250 h 5352044"/>
              <a:gd name="connsiteX61" fmla="*/ 4263401 w 6958630"/>
              <a:gd name="connsiteY61" fmla="*/ 4484960 h 5352044"/>
              <a:gd name="connsiteX62" fmla="*/ 3999117 w 6958630"/>
              <a:gd name="connsiteY62" fmla="*/ 4107900 h 5352044"/>
              <a:gd name="connsiteX63" fmla="*/ 3984242 w 6958630"/>
              <a:gd name="connsiteY63" fmla="*/ 3763234 h 5352044"/>
              <a:gd name="connsiteX64" fmla="*/ 4001623 w 6958630"/>
              <a:gd name="connsiteY64" fmla="*/ 3345301 h 5352044"/>
              <a:gd name="connsiteX65" fmla="*/ 4018520 w 6958630"/>
              <a:gd name="connsiteY65" fmla="*/ 3140220 h 5352044"/>
              <a:gd name="connsiteX66" fmla="*/ 3918918 w 6958630"/>
              <a:gd name="connsiteY66" fmla="*/ 3442952 h 5352044"/>
              <a:gd name="connsiteX67" fmla="*/ 3739925 w 6958630"/>
              <a:gd name="connsiteY67" fmla="*/ 3941692 h 5352044"/>
              <a:gd name="connsiteX68" fmla="*/ 3266332 w 6958630"/>
              <a:gd name="connsiteY68" fmla="*/ 4905602 h 5352044"/>
              <a:gd name="connsiteX69" fmla="*/ 2513418 w 6958630"/>
              <a:gd name="connsiteY69" fmla="*/ 5349452 h 5352044"/>
              <a:gd name="connsiteX70" fmla="*/ 2277187 w 6958630"/>
              <a:gd name="connsiteY70" fmla="*/ 4857072 h 5352044"/>
              <a:gd name="connsiteX71" fmla="*/ 2326260 w 6958630"/>
              <a:gd name="connsiteY71" fmla="*/ 3819775 h 5352044"/>
              <a:gd name="connsiteX72" fmla="*/ 2048658 w 6958630"/>
              <a:gd name="connsiteY72" fmla="*/ 4760224 h 5352044"/>
              <a:gd name="connsiteX73" fmla="*/ 1996876 w 6958630"/>
              <a:gd name="connsiteY73" fmla="*/ 4908063 h 5352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958630" h="5352044">
                <a:moveTo>
                  <a:pt x="1075189" y="3819662"/>
                </a:moveTo>
                <a:lnTo>
                  <a:pt x="0" y="2549993"/>
                </a:lnTo>
                <a:lnTo>
                  <a:pt x="273834" y="1601357"/>
                </a:lnTo>
                <a:cubicBezTo>
                  <a:pt x="334145" y="1401224"/>
                  <a:pt x="392071" y="1194731"/>
                  <a:pt x="455464" y="992346"/>
                </a:cubicBezTo>
                <a:lnTo>
                  <a:pt x="482058" y="912917"/>
                </a:lnTo>
                <a:lnTo>
                  <a:pt x="1560103" y="0"/>
                </a:lnTo>
                <a:lnTo>
                  <a:pt x="1563049" y="19661"/>
                </a:lnTo>
                <a:cubicBezTo>
                  <a:pt x="1562735" y="79603"/>
                  <a:pt x="1547759" y="145008"/>
                  <a:pt x="1535672" y="208675"/>
                </a:cubicBezTo>
                <a:cubicBezTo>
                  <a:pt x="1503981" y="375590"/>
                  <a:pt x="1464447" y="539089"/>
                  <a:pt x="1431946" y="705650"/>
                </a:cubicBezTo>
                <a:cubicBezTo>
                  <a:pt x="1382793" y="957376"/>
                  <a:pt x="1338086" y="1211340"/>
                  <a:pt x="1308739" y="1469663"/>
                </a:cubicBezTo>
                <a:cubicBezTo>
                  <a:pt x="1231248" y="2152398"/>
                  <a:pt x="1132111" y="2839043"/>
                  <a:pt x="1089432" y="3521397"/>
                </a:cubicBezTo>
                <a:lnTo>
                  <a:pt x="1075189" y="3819662"/>
                </a:lnTo>
                <a:close/>
                <a:moveTo>
                  <a:pt x="1996876" y="4908063"/>
                </a:moveTo>
                <a:lnTo>
                  <a:pt x="1398177" y="4201072"/>
                </a:lnTo>
                <a:lnTo>
                  <a:pt x="1590566" y="3604919"/>
                </a:lnTo>
                <a:cubicBezTo>
                  <a:pt x="1715230" y="3233985"/>
                  <a:pt x="1843451" y="2864347"/>
                  <a:pt x="1974502" y="2496593"/>
                </a:cubicBezTo>
                <a:cubicBezTo>
                  <a:pt x="2096579" y="2167829"/>
                  <a:pt x="2219221" y="1839301"/>
                  <a:pt x="2349059" y="1514660"/>
                </a:cubicBezTo>
                <a:cubicBezTo>
                  <a:pt x="2389159" y="1407350"/>
                  <a:pt x="2429178" y="1300275"/>
                  <a:pt x="2474209" y="1195792"/>
                </a:cubicBezTo>
                <a:cubicBezTo>
                  <a:pt x="2506143" y="1116870"/>
                  <a:pt x="2552548" y="1049491"/>
                  <a:pt x="2595638" y="980346"/>
                </a:cubicBezTo>
                <a:cubicBezTo>
                  <a:pt x="2735420" y="756066"/>
                  <a:pt x="2952975" y="554992"/>
                  <a:pt x="3160829" y="512585"/>
                </a:cubicBezTo>
                <a:cubicBezTo>
                  <a:pt x="3221463" y="500216"/>
                  <a:pt x="3408378" y="448388"/>
                  <a:pt x="3435866" y="585618"/>
                </a:cubicBezTo>
                <a:cubicBezTo>
                  <a:pt x="3451954" y="666424"/>
                  <a:pt x="3452762" y="752296"/>
                  <a:pt x="3450660" y="838639"/>
                </a:cubicBezTo>
                <a:cubicBezTo>
                  <a:pt x="3439018" y="1058797"/>
                  <a:pt x="3418080" y="1279661"/>
                  <a:pt x="3404013" y="1499936"/>
                </a:cubicBezTo>
                <a:cubicBezTo>
                  <a:pt x="3374990" y="1950264"/>
                  <a:pt x="3346451" y="2400472"/>
                  <a:pt x="3313870" y="2850918"/>
                </a:cubicBezTo>
                <a:cubicBezTo>
                  <a:pt x="3332222" y="2798028"/>
                  <a:pt x="3350735" y="2741958"/>
                  <a:pt x="3369572" y="2686006"/>
                </a:cubicBezTo>
                <a:cubicBezTo>
                  <a:pt x="3474752" y="2359481"/>
                  <a:pt x="3593999" y="2039316"/>
                  <a:pt x="3706860" y="1716324"/>
                </a:cubicBezTo>
                <a:cubicBezTo>
                  <a:pt x="3783340" y="1529502"/>
                  <a:pt x="3858769" y="1342092"/>
                  <a:pt x="3936380" y="1155977"/>
                </a:cubicBezTo>
                <a:cubicBezTo>
                  <a:pt x="4039217" y="901659"/>
                  <a:pt x="4175037" y="691750"/>
                  <a:pt x="4337132" y="522126"/>
                </a:cubicBezTo>
                <a:cubicBezTo>
                  <a:pt x="4369187" y="488614"/>
                  <a:pt x="4402385" y="456103"/>
                  <a:pt x="4436557" y="425574"/>
                </a:cubicBezTo>
                <a:lnTo>
                  <a:pt x="4508920" y="367382"/>
                </a:lnTo>
                <a:lnTo>
                  <a:pt x="5115640" y="1083845"/>
                </a:lnTo>
                <a:cubicBezTo>
                  <a:pt x="5115433" y="1088114"/>
                  <a:pt x="5115225" y="1092384"/>
                  <a:pt x="5115018" y="1096653"/>
                </a:cubicBezTo>
                <a:cubicBezTo>
                  <a:pt x="5108399" y="1191256"/>
                  <a:pt x="5100234" y="1285963"/>
                  <a:pt x="5091987" y="1380611"/>
                </a:cubicBezTo>
                <a:cubicBezTo>
                  <a:pt x="5067734" y="1632219"/>
                  <a:pt x="5042105" y="1883946"/>
                  <a:pt x="5018983" y="2135554"/>
                </a:cubicBezTo>
                <a:cubicBezTo>
                  <a:pt x="5005644" y="2286213"/>
                  <a:pt x="4990608" y="2436988"/>
                  <a:pt x="4977834" y="2587648"/>
                </a:cubicBezTo>
                <a:cubicBezTo>
                  <a:pt x="5067734" y="2382804"/>
                  <a:pt x="5169275" y="2185970"/>
                  <a:pt x="5285289" y="2003389"/>
                </a:cubicBezTo>
                <a:cubicBezTo>
                  <a:pt x="5338404" y="1913394"/>
                  <a:pt x="5394693" y="1826992"/>
                  <a:pt x="5453822" y="1744212"/>
                </a:cubicBezTo>
                <a:lnTo>
                  <a:pt x="5559908" y="1608472"/>
                </a:lnTo>
                <a:lnTo>
                  <a:pt x="6798419" y="3071005"/>
                </a:lnTo>
                <a:cubicBezTo>
                  <a:pt x="7022498" y="3349031"/>
                  <a:pt x="6877681" y="3237899"/>
                  <a:pt x="6904383" y="3276626"/>
                </a:cubicBezTo>
                <a:cubicBezTo>
                  <a:pt x="6931085" y="3315353"/>
                  <a:pt x="6916024" y="3277333"/>
                  <a:pt x="6958630" y="3303366"/>
                </a:cubicBezTo>
                <a:cubicBezTo>
                  <a:pt x="6951435" y="3327514"/>
                  <a:pt x="6940360" y="3349895"/>
                  <a:pt x="6929041" y="3371333"/>
                </a:cubicBezTo>
                <a:cubicBezTo>
                  <a:pt x="6903291" y="3416979"/>
                  <a:pt x="6873864" y="3458560"/>
                  <a:pt x="6842183" y="3496813"/>
                </a:cubicBezTo>
                <a:lnTo>
                  <a:pt x="6752598" y="3590980"/>
                </a:lnTo>
                <a:lnTo>
                  <a:pt x="6636435" y="3689350"/>
                </a:lnTo>
                <a:lnTo>
                  <a:pt x="6534262" y="3751543"/>
                </a:lnTo>
                <a:cubicBezTo>
                  <a:pt x="6461450" y="3788383"/>
                  <a:pt x="6386122" y="3811941"/>
                  <a:pt x="6311623" y="3821071"/>
                </a:cubicBezTo>
                <a:cubicBezTo>
                  <a:pt x="6276293" y="3821071"/>
                  <a:pt x="6240237" y="3825901"/>
                  <a:pt x="6205393" y="3821425"/>
                </a:cubicBezTo>
                <a:cubicBezTo>
                  <a:pt x="6173378" y="3816949"/>
                  <a:pt x="6144192" y="3800928"/>
                  <a:pt x="6113794" y="3789856"/>
                </a:cubicBezTo>
                <a:cubicBezTo>
                  <a:pt x="6049199" y="3766885"/>
                  <a:pt x="6001500" y="3706693"/>
                  <a:pt x="5957763" y="3645087"/>
                </a:cubicBezTo>
                <a:cubicBezTo>
                  <a:pt x="5909660" y="3583952"/>
                  <a:pt x="5886294" y="3495606"/>
                  <a:pt x="5871500" y="3407024"/>
                </a:cubicBezTo>
                <a:cubicBezTo>
                  <a:pt x="5863092" y="3348127"/>
                  <a:pt x="5850885" y="3290408"/>
                  <a:pt x="5850157" y="3228802"/>
                </a:cubicBezTo>
                <a:cubicBezTo>
                  <a:pt x="5850400" y="3053642"/>
                  <a:pt x="5852987" y="2878010"/>
                  <a:pt x="5855735" y="2702379"/>
                </a:cubicBezTo>
                <a:cubicBezTo>
                  <a:pt x="5857594" y="2606377"/>
                  <a:pt x="5854684" y="2511200"/>
                  <a:pt x="5851694" y="2416140"/>
                </a:cubicBezTo>
                <a:cubicBezTo>
                  <a:pt x="5851046" y="2390579"/>
                  <a:pt x="5850480" y="2364900"/>
                  <a:pt x="5849753" y="2339220"/>
                </a:cubicBezTo>
                <a:cubicBezTo>
                  <a:pt x="5734872" y="2584115"/>
                  <a:pt x="5634056" y="2840199"/>
                  <a:pt x="5526775" y="3089687"/>
                </a:cubicBezTo>
                <a:cubicBezTo>
                  <a:pt x="5457490" y="3249062"/>
                  <a:pt x="5393056" y="3412090"/>
                  <a:pt x="5318032" y="3567460"/>
                </a:cubicBezTo>
                <a:cubicBezTo>
                  <a:pt x="5246403" y="3703512"/>
                  <a:pt x="5166607" y="3834736"/>
                  <a:pt x="5075333" y="3948996"/>
                </a:cubicBezTo>
                <a:cubicBezTo>
                  <a:pt x="5025128" y="4008364"/>
                  <a:pt x="4978641" y="4074447"/>
                  <a:pt x="4924556" y="4127219"/>
                </a:cubicBezTo>
                <a:cubicBezTo>
                  <a:pt x="4833929" y="4221924"/>
                  <a:pt x="4736267" y="4300730"/>
                  <a:pt x="4635048" y="4368343"/>
                </a:cubicBezTo>
                <a:cubicBezTo>
                  <a:pt x="4545875" y="4421704"/>
                  <a:pt x="4453550" y="4465759"/>
                  <a:pt x="4359931" y="4482250"/>
                </a:cubicBezTo>
                <a:lnTo>
                  <a:pt x="4263401" y="4484960"/>
                </a:lnTo>
                <a:cubicBezTo>
                  <a:pt x="4105994" y="4489435"/>
                  <a:pt x="4027817" y="4304380"/>
                  <a:pt x="3999117" y="4107900"/>
                </a:cubicBezTo>
                <a:cubicBezTo>
                  <a:pt x="3982786" y="3996350"/>
                  <a:pt x="3980765" y="3880086"/>
                  <a:pt x="3984242" y="3763234"/>
                </a:cubicBezTo>
                <a:cubicBezTo>
                  <a:pt x="3985940" y="3624473"/>
                  <a:pt x="3992407" y="3485004"/>
                  <a:pt x="4001623" y="3345301"/>
                </a:cubicBezTo>
                <a:cubicBezTo>
                  <a:pt x="4006959" y="3276980"/>
                  <a:pt x="4012699" y="3208542"/>
                  <a:pt x="4018520" y="3140220"/>
                </a:cubicBezTo>
                <a:cubicBezTo>
                  <a:pt x="3985453" y="3241170"/>
                  <a:pt x="3952307" y="3342120"/>
                  <a:pt x="3918918" y="3442952"/>
                </a:cubicBezTo>
                <a:cubicBezTo>
                  <a:pt x="3863701" y="3611397"/>
                  <a:pt x="3803389" y="3777369"/>
                  <a:pt x="3739925" y="3941692"/>
                </a:cubicBezTo>
                <a:cubicBezTo>
                  <a:pt x="3602570" y="4297548"/>
                  <a:pt x="3480251" y="4629021"/>
                  <a:pt x="3266332" y="4905602"/>
                </a:cubicBezTo>
                <a:cubicBezTo>
                  <a:pt x="3060904" y="5171229"/>
                  <a:pt x="2795488" y="5377722"/>
                  <a:pt x="2513418" y="5349452"/>
                </a:cubicBezTo>
                <a:cubicBezTo>
                  <a:pt x="2339681" y="5332135"/>
                  <a:pt x="2280583" y="5075815"/>
                  <a:pt x="2277187" y="4857072"/>
                </a:cubicBezTo>
                <a:cubicBezTo>
                  <a:pt x="2271851" y="4510050"/>
                  <a:pt x="2288263" y="4162439"/>
                  <a:pt x="2326260" y="3819775"/>
                </a:cubicBezTo>
                <a:cubicBezTo>
                  <a:pt x="2310617" y="3866819"/>
                  <a:pt x="2212992" y="4271266"/>
                  <a:pt x="2048658" y="4760224"/>
                </a:cubicBezTo>
                <a:lnTo>
                  <a:pt x="1996876" y="4908063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B55B9341-9544-C158-D07A-111F9336852E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0CE39731-51F7-534C-C99E-3EF237C37E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2000" y="1700808"/>
            <a:ext cx="11088001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824834-4FB9-36DE-58A3-BE0BA2340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F5A9934-5760-2964-5E89-B7A74A48A6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6229350"/>
            <a:ext cx="11088000" cy="384175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000"/>
            </a:lvl1pPr>
            <a:lvl2pPr marL="144000" indent="-1440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000"/>
            </a:lvl2pPr>
            <a:lvl3pPr>
              <a:lnSpc>
                <a:spcPct val="90000"/>
              </a:lnSpc>
              <a:spcBef>
                <a:spcPts val="0"/>
              </a:spcBef>
              <a:defRPr sz="1000"/>
            </a:lvl3pPr>
            <a:lvl4pPr>
              <a:lnSpc>
                <a:spcPct val="90000"/>
              </a:lnSpc>
              <a:defRPr sz="1000"/>
            </a:lvl4pPr>
            <a:lvl5pPr>
              <a:lnSpc>
                <a:spcPct val="90000"/>
              </a:lnSpc>
              <a:defRPr sz="1000"/>
            </a:lvl5pPr>
          </a:lstStyle>
          <a:p>
            <a:pPr lvl="0"/>
            <a:r>
              <a:rPr lang="en-US" dirty="0"/>
              <a:t>Source or footnotes – use Alt, Shift and arrow keys to promote to numbered footnote style.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896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955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AD1E3271-5090-C512-48EF-8FBB3657A624}"/>
              </a:ext>
            </a:extLst>
          </p:cNvPr>
          <p:cNvSpPr txBox="1">
            <a:spLocks/>
          </p:cNvSpPr>
          <p:nvPr userDrawn="1"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499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Squigg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1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Box">
            <a:extLst>
              <a:ext uri="{FF2B5EF4-FFF2-40B4-BE49-F238E27FC236}">
                <a16:creationId xmlns:a16="http://schemas.microsoft.com/office/drawing/2014/main" id="{20D1D068-8642-4E0E-61F9-86262A4F54E3}"/>
              </a:ext>
            </a:extLst>
          </p:cNvPr>
          <p:cNvSpPr/>
          <p:nvPr/>
        </p:nvSpPr>
        <p:spPr bwMode="white">
          <a:xfrm>
            <a:off x="0" y="2006601"/>
            <a:ext cx="6096000" cy="4851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1" name="Squiggle">
            <a:extLst>
              <a:ext uri="{FF2B5EF4-FFF2-40B4-BE49-F238E27FC236}">
                <a16:creationId xmlns:a16="http://schemas.microsoft.com/office/drawing/2014/main" id="{9A328A6D-FD87-898A-9B1A-71C3E60F33FF}"/>
              </a:ext>
            </a:extLst>
          </p:cNvPr>
          <p:cNvSpPr/>
          <p:nvPr/>
        </p:nvSpPr>
        <p:spPr bwMode="invGray">
          <a:xfrm rot="7815528">
            <a:off x="-837800" y="-132284"/>
            <a:ext cx="9817614" cy="7561373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EF30D9B-1CE5-162E-5F5B-B41EF63867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 baseline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8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1600" baseline="0">
                <a:solidFill>
                  <a:schemeClr val="tx1"/>
                </a:solidFill>
              </a:defRPr>
            </a:lvl4pPr>
            <a:lvl5pPr>
              <a:defRPr sz="1800" baseline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buAutoNum type="alphaLcParenR"/>
              <a:defRPr/>
            </a:lvl8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111F7-7820-764F-3959-6534A1CD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75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dient Box">
            <a:extLst>
              <a:ext uri="{FF2B5EF4-FFF2-40B4-BE49-F238E27FC236}">
                <a16:creationId xmlns:a16="http://schemas.microsoft.com/office/drawing/2014/main" id="{5FA2F412-DAB1-79A8-EE6D-856B95DA3C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087821"/>
            <a:ext cx="6096000" cy="47701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quiggle">
            <a:extLst>
              <a:ext uri="{FF2B5EF4-FFF2-40B4-BE49-F238E27FC236}">
                <a16:creationId xmlns:a16="http://schemas.microsoft.com/office/drawing/2014/main" id="{47F53373-D50B-883E-FDDA-7108820460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89" t="12023" r="24259" b="38040"/>
          <a:stretch/>
        </p:blipFill>
        <p:spPr>
          <a:xfrm>
            <a:off x="0" y="2053095"/>
            <a:ext cx="6096000" cy="4770179"/>
          </a:xfrm>
          <a:prstGeom prst="rect">
            <a:avLst/>
          </a:prstGeom>
        </p:spPr>
      </p:pic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/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/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40000" cy="974626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7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">
            <a:extLst>
              <a:ext uri="{FF2B5EF4-FFF2-40B4-BE49-F238E27FC236}">
                <a16:creationId xmlns:a16="http://schemas.microsoft.com/office/drawing/2014/main" id="{29AFB3F8-FA85-8CE0-015D-62EB0BF10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8000" y="2053095"/>
            <a:ext cx="5040000" cy="3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360000" indent="-180000">
              <a:spcBef>
                <a:spcPts val="0"/>
              </a:spcBef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DF4F03E-3E76-8B40-7DFE-45514CEB5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700811"/>
            <a:ext cx="8639999" cy="974626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7ADB17EC-3535-10B4-EA22-3FF7B2394167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289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quiggle">
            <a:extLst>
              <a:ext uri="{FF2B5EF4-FFF2-40B4-BE49-F238E27FC236}">
                <a16:creationId xmlns:a16="http://schemas.microsoft.com/office/drawing/2014/main" id="{EDD39493-F2CF-026A-6F49-50AB1BFEF1DE}"/>
              </a:ext>
            </a:extLst>
          </p:cNvPr>
          <p:cNvSpPr/>
          <p:nvPr userDrawn="1"/>
        </p:nvSpPr>
        <p:spPr bwMode="invGray">
          <a:xfrm rot="7860000">
            <a:off x="-623711" y="1951769"/>
            <a:ext cx="6944766" cy="5297390"/>
          </a:xfrm>
          <a:custGeom>
            <a:avLst/>
            <a:gdLst>
              <a:gd name="connsiteX0" fmla="*/ 1075189 w 6958630"/>
              <a:gd name="connsiteY0" fmla="*/ 3827046 h 5359428"/>
              <a:gd name="connsiteX1" fmla="*/ 0 w 6958630"/>
              <a:gd name="connsiteY1" fmla="*/ 2557377 h 5359428"/>
              <a:gd name="connsiteX2" fmla="*/ 273834 w 6958630"/>
              <a:gd name="connsiteY2" fmla="*/ 1608741 h 5359428"/>
              <a:gd name="connsiteX3" fmla="*/ 455464 w 6958630"/>
              <a:gd name="connsiteY3" fmla="*/ 999730 h 5359428"/>
              <a:gd name="connsiteX4" fmla="*/ 485946 w 6958630"/>
              <a:gd name="connsiteY4" fmla="*/ 908688 h 5359428"/>
              <a:gd name="connsiteX5" fmla="*/ 1558997 w 6958630"/>
              <a:gd name="connsiteY5" fmla="*/ 0 h 5359428"/>
              <a:gd name="connsiteX6" fmla="*/ 1563049 w 6958630"/>
              <a:gd name="connsiteY6" fmla="*/ 27045 h 5359428"/>
              <a:gd name="connsiteX7" fmla="*/ 1535672 w 6958630"/>
              <a:gd name="connsiteY7" fmla="*/ 216059 h 5359428"/>
              <a:gd name="connsiteX8" fmla="*/ 1431946 w 6958630"/>
              <a:gd name="connsiteY8" fmla="*/ 713034 h 5359428"/>
              <a:gd name="connsiteX9" fmla="*/ 1308739 w 6958630"/>
              <a:gd name="connsiteY9" fmla="*/ 1477047 h 5359428"/>
              <a:gd name="connsiteX10" fmla="*/ 1089432 w 6958630"/>
              <a:gd name="connsiteY10" fmla="*/ 3528781 h 5359428"/>
              <a:gd name="connsiteX11" fmla="*/ 1996876 w 6958630"/>
              <a:gd name="connsiteY11" fmla="*/ 4915447 h 5359428"/>
              <a:gd name="connsiteX12" fmla="*/ 1398177 w 6958630"/>
              <a:gd name="connsiteY12" fmla="*/ 4208456 h 5359428"/>
              <a:gd name="connsiteX13" fmla="*/ 1590566 w 6958630"/>
              <a:gd name="connsiteY13" fmla="*/ 3612303 h 5359428"/>
              <a:gd name="connsiteX14" fmla="*/ 1974502 w 6958630"/>
              <a:gd name="connsiteY14" fmla="*/ 2503977 h 5359428"/>
              <a:gd name="connsiteX15" fmla="*/ 2349059 w 6958630"/>
              <a:gd name="connsiteY15" fmla="*/ 1522044 h 5359428"/>
              <a:gd name="connsiteX16" fmla="*/ 2474209 w 6958630"/>
              <a:gd name="connsiteY16" fmla="*/ 1203176 h 5359428"/>
              <a:gd name="connsiteX17" fmla="*/ 2595638 w 6958630"/>
              <a:gd name="connsiteY17" fmla="*/ 987730 h 5359428"/>
              <a:gd name="connsiteX18" fmla="*/ 3160829 w 6958630"/>
              <a:gd name="connsiteY18" fmla="*/ 519969 h 5359428"/>
              <a:gd name="connsiteX19" fmla="*/ 3435866 w 6958630"/>
              <a:gd name="connsiteY19" fmla="*/ 593002 h 5359428"/>
              <a:gd name="connsiteX20" fmla="*/ 3450660 w 6958630"/>
              <a:gd name="connsiteY20" fmla="*/ 846023 h 5359428"/>
              <a:gd name="connsiteX21" fmla="*/ 3404013 w 6958630"/>
              <a:gd name="connsiteY21" fmla="*/ 1507320 h 5359428"/>
              <a:gd name="connsiteX22" fmla="*/ 3313870 w 6958630"/>
              <a:gd name="connsiteY22" fmla="*/ 2858302 h 5359428"/>
              <a:gd name="connsiteX23" fmla="*/ 3369572 w 6958630"/>
              <a:gd name="connsiteY23" fmla="*/ 2693390 h 5359428"/>
              <a:gd name="connsiteX24" fmla="*/ 3706860 w 6958630"/>
              <a:gd name="connsiteY24" fmla="*/ 1723708 h 5359428"/>
              <a:gd name="connsiteX25" fmla="*/ 3936380 w 6958630"/>
              <a:gd name="connsiteY25" fmla="*/ 1163361 h 5359428"/>
              <a:gd name="connsiteX26" fmla="*/ 4337132 w 6958630"/>
              <a:gd name="connsiteY26" fmla="*/ 529510 h 5359428"/>
              <a:gd name="connsiteX27" fmla="*/ 4436557 w 6958630"/>
              <a:gd name="connsiteY27" fmla="*/ 432958 h 5359428"/>
              <a:gd name="connsiteX28" fmla="*/ 4508920 w 6958630"/>
              <a:gd name="connsiteY28" fmla="*/ 374766 h 5359428"/>
              <a:gd name="connsiteX29" fmla="*/ 5115640 w 6958630"/>
              <a:gd name="connsiteY29" fmla="*/ 1091229 h 5359428"/>
              <a:gd name="connsiteX30" fmla="*/ 5115018 w 6958630"/>
              <a:gd name="connsiteY30" fmla="*/ 1104037 h 5359428"/>
              <a:gd name="connsiteX31" fmla="*/ 5091987 w 6958630"/>
              <a:gd name="connsiteY31" fmla="*/ 1387995 h 5359428"/>
              <a:gd name="connsiteX32" fmla="*/ 5018983 w 6958630"/>
              <a:gd name="connsiteY32" fmla="*/ 2142938 h 5359428"/>
              <a:gd name="connsiteX33" fmla="*/ 4977834 w 6958630"/>
              <a:gd name="connsiteY33" fmla="*/ 2595032 h 5359428"/>
              <a:gd name="connsiteX34" fmla="*/ 5285289 w 6958630"/>
              <a:gd name="connsiteY34" fmla="*/ 2010773 h 5359428"/>
              <a:gd name="connsiteX35" fmla="*/ 5453822 w 6958630"/>
              <a:gd name="connsiteY35" fmla="*/ 1751596 h 5359428"/>
              <a:gd name="connsiteX36" fmla="*/ 5559908 w 6958630"/>
              <a:gd name="connsiteY36" fmla="*/ 1615856 h 5359428"/>
              <a:gd name="connsiteX37" fmla="*/ 6798419 w 6958630"/>
              <a:gd name="connsiteY37" fmla="*/ 3078389 h 5359428"/>
              <a:gd name="connsiteX38" fmla="*/ 6799849 w 6958630"/>
              <a:gd name="connsiteY38" fmla="*/ 3155851 h 5359428"/>
              <a:gd name="connsiteX39" fmla="*/ 6825478 w 6958630"/>
              <a:gd name="connsiteY39" fmla="*/ 3225821 h 5359428"/>
              <a:gd name="connsiteX40" fmla="*/ 6835906 w 6958630"/>
              <a:gd name="connsiteY40" fmla="*/ 3244195 h 5359428"/>
              <a:gd name="connsiteX41" fmla="*/ 6904383 w 6958630"/>
              <a:gd name="connsiteY41" fmla="*/ 3284010 h 5359428"/>
              <a:gd name="connsiteX42" fmla="*/ 6958630 w 6958630"/>
              <a:gd name="connsiteY42" fmla="*/ 3310750 h 5359428"/>
              <a:gd name="connsiteX43" fmla="*/ 6929041 w 6958630"/>
              <a:gd name="connsiteY43" fmla="*/ 3378717 h 5359428"/>
              <a:gd name="connsiteX44" fmla="*/ 6842183 w 6958630"/>
              <a:gd name="connsiteY44" fmla="*/ 3504197 h 5359428"/>
              <a:gd name="connsiteX45" fmla="*/ 6793322 w 6958630"/>
              <a:gd name="connsiteY45" fmla="*/ 3555557 h 5359428"/>
              <a:gd name="connsiteX46" fmla="*/ 6601492 w 6958630"/>
              <a:gd name="connsiteY46" fmla="*/ 3718004 h 5359428"/>
              <a:gd name="connsiteX47" fmla="*/ 6534262 w 6958630"/>
              <a:gd name="connsiteY47" fmla="*/ 3758927 h 5359428"/>
              <a:gd name="connsiteX48" fmla="*/ 6311623 w 6958630"/>
              <a:gd name="connsiteY48" fmla="*/ 3828455 h 5359428"/>
              <a:gd name="connsiteX49" fmla="*/ 6205393 w 6958630"/>
              <a:gd name="connsiteY49" fmla="*/ 3828809 h 5359428"/>
              <a:gd name="connsiteX50" fmla="*/ 6113794 w 6958630"/>
              <a:gd name="connsiteY50" fmla="*/ 3797240 h 5359428"/>
              <a:gd name="connsiteX51" fmla="*/ 5957763 w 6958630"/>
              <a:gd name="connsiteY51" fmla="*/ 3652471 h 5359428"/>
              <a:gd name="connsiteX52" fmla="*/ 5871500 w 6958630"/>
              <a:gd name="connsiteY52" fmla="*/ 3414408 h 5359428"/>
              <a:gd name="connsiteX53" fmla="*/ 5850157 w 6958630"/>
              <a:gd name="connsiteY53" fmla="*/ 3236186 h 5359428"/>
              <a:gd name="connsiteX54" fmla="*/ 5855735 w 6958630"/>
              <a:gd name="connsiteY54" fmla="*/ 2709763 h 5359428"/>
              <a:gd name="connsiteX55" fmla="*/ 5851694 w 6958630"/>
              <a:gd name="connsiteY55" fmla="*/ 2423524 h 5359428"/>
              <a:gd name="connsiteX56" fmla="*/ 5849753 w 6958630"/>
              <a:gd name="connsiteY56" fmla="*/ 2346604 h 5359428"/>
              <a:gd name="connsiteX57" fmla="*/ 5526775 w 6958630"/>
              <a:gd name="connsiteY57" fmla="*/ 3097071 h 5359428"/>
              <a:gd name="connsiteX58" fmla="*/ 5318032 w 6958630"/>
              <a:gd name="connsiteY58" fmla="*/ 3574844 h 5359428"/>
              <a:gd name="connsiteX59" fmla="*/ 5075333 w 6958630"/>
              <a:gd name="connsiteY59" fmla="*/ 3956380 h 5359428"/>
              <a:gd name="connsiteX60" fmla="*/ 4924556 w 6958630"/>
              <a:gd name="connsiteY60" fmla="*/ 4134603 h 5359428"/>
              <a:gd name="connsiteX61" fmla="*/ 4635048 w 6958630"/>
              <a:gd name="connsiteY61" fmla="*/ 4375727 h 5359428"/>
              <a:gd name="connsiteX62" fmla="*/ 4359931 w 6958630"/>
              <a:gd name="connsiteY62" fmla="*/ 4489634 h 5359428"/>
              <a:gd name="connsiteX63" fmla="*/ 4263401 w 6958630"/>
              <a:gd name="connsiteY63" fmla="*/ 4492344 h 5359428"/>
              <a:gd name="connsiteX64" fmla="*/ 3999117 w 6958630"/>
              <a:gd name="connsiteY64" fmla="*/ 4115284 h 5359428"/>
              <a:gd name="connsiteX65" fmla="*/ 3984242 w 6958630"/>
              <a:gd name="connsiteY65" fmla="*/ 3770618 h 5359428"/>
              <a:gd name="connsiteX66" fmla="*/ 4001623 w 6958630"/>
              <a:gd name="connsiteY66" fmla="*/ 3352685 h 5359428"/>
              <a:gd name="connsiteX67" fmla="*/ 4018520 w 6958630"/>
              <a:gd name="connsiteY67" fmla="*/ 3147604 h 5359428"/>
              <a:gd name="connsiteX68" fmla="*/ 3918918 w 6958630"/>
              <a:gd name="connsiteY68" fmla="*/ 3450336 h 5359428"/>
              <a:gd name="connsiteX69" fmla="*/ 3739925 w 6958630"/>
              <a:gd name="connsiteY69" fmla="*/ 3949076 h 5359428"/>
              <a:gd name="connsiteX70" fmla="*/ 3266332 w 6958630"/>
              <a:gd name="connsiteY70" fmla="*/ 4912986 h 5359428"/>
              <a:gd name="connsiteX71" fmla="*/ 2513418 w 6958630"/>
              <a:gd name="connsiteY71" fmla="*/ 5356836 h 5359428"/>
              <a:gd name="connsiteX72" fmla="*/ 2277187 w 6958630"/>
              <a:gd name="connsiteY72" fmla="*/ 4864456 h 5359428"/>
              <a:gd name="connsiteX73" fmla="*/ 2326260 w 6958630"/>
              <a:gd name="connsiteY73" fmla="*/ 3827159 h 5359428"/>
              <a:gd name="connsiteX74" fmla="*/ 2048658 w 6958630"/>
              <a:gd name="connsiteY74" fmla="*/ 4767608 h 53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958630" h="5359428">
                <a:moveTo>
                  <a:pt x="1075189" y="3827046"/>
                </a:moveTo>
                <a:lnTo>
                  <a:pt x="0" y="2557377"/>
                </a:lnTo>
                <a:lnTo>
                  <a:pt x="273834" y="1608741"/>
                </a:lnTo>
                <a:cubicBezTo>
                  <a:pt x="334145" y="1408608"/>
                  <a:pt x="392071" y="1202115"/>
                  <a:pt x="455464" y="999730"/>
                </a:cubicBezTo>
                <a:lnTo>
                  <a:pt x="485946" y="908688"/>
                </a:lnTo>
                <a:lnTo>
                  <a:pt x="1558997" y="0"/>
                </a:lnTo>
                <a:lnTo>
                  <a:pt x="1563049" y="27045"/>
                </a:lnTo>
                <a:cubicBezTo>
                  <a:pt x="1562735" y="86987"/>
                  <a:pt x="1547759" y="152392"/>
                  <a:pt x="1535672" y="216059"/>
                </a:cubicBezTo>
                <a:cubicBezTo>
                  <a:pt x="1503981" y="382974"/>
                  <a:pt x="1464447" y="546473"/>
                  <a:pt x="1431946" y="713034"/>
                </a:cubicBezTo>
                <a:cubicBezTo>
                  <a:pt x="1382793" y="964760"/>
                  <a:pt x="1338086" y="1218724"/>
                  <a:pt x="1308739" y="1477047"/>
                </a:cubicBezTo>
                <a:cubicBezTo>
                  <a:pt x="1231248" y="2159782"/>
                  <a:pt x="1132111" y="2846427"/>
                  <a:pt x="1089432" y="3528781"/>
                </a:cubicBezTo>
                <a:close/>
                <a:moveTo>
                  <a:pt x="1996876" y="4915447"/>
                </a:moveTo>
                <a:lnTo>
                  <a:pt x="1398177" y="4208456"/>
                </a:lnTo>
                <a:lnTo>
                  <a:pt x="1590566" y="3612303"/>
                </a:lnTo>
                <a:cubicBezTo>
                  <a:pt x="1715230" y="3241369"/>
                  <a:pt x="1843451" y="2871731"/>
                  <a:pt x="1974502" y="2503977"/>
                </a:cubicBezTo>
                <a:cubicBezTo>
                  <a:pt x="2096579" y="2175213"/>
                  <a:pt x="2219221" y="1846685"/>
                  <a:pt x="2349059" y="1522044"/>
                </a:cubicBezTo>
                <a:cubicBezTo>
                  <a:pt x="2389159" y="1414734"/>
                  <a:pt x="2429178" y="1307659"/>
                  <a:pt x="2474209" y="1203176"/>
                </a:cubicBezTo>
                <a:cubicBezTo>
                  <a:pt x="2506143" y="1124254"/>
                  <a:pt x="2552548" y="1056875"/>
                  <a:pt x="2595638" y="987730"/>
                </a:cubicBezTo>
                <a:cubicBezTo>
                  <a:pt x="2735420" y="763450"/>
                  <a:pt x="2952975" y="562376"/>
                  <a:pt x="3160829" y="519969"/>
                </a:cubicBezTo>
                <a:cubicBezTo>
                  <a:pt x="3221463" y="507600"/>
                  <a:pt x="3408378" y="455772"/>
                  <a:pt x="3435866" y="593002"/>
                </a:cubicBezTo>
                <a:cubicBezTo>
                  <a:pt x="3451954" y="673808"/>
                  <a:pt x="3452762" y="759680"/>
                  <a:pt x="3450660" y="846023"/>
                </a:cubicBezTo>
                <a:cubicBezTo>
                  <a:pt x="3439018" y="1066181"/>
                  <a:pt x="3418080" y="1287045"/>
                  <a:pt x="3404013" y="1507320"/>
                </a:cubicBezTo>
                <a:cubicBezTo>
                  <a:pt x="3374990" y="1957648"/>
                  <a:pt x="3346451" y="2407856"/>
                  <a:pt x="3313870" y="2858302"/>
                </a:cubicBezTo>
                <a:cubicBezTo>
                  <a:pt x="3332222" y="2805412"/>
                  <a:pt x="3350735" y="2749342"/>
                  <a:pt x="3369572" y="2693390"/>
                </a:cubicBezTo>
                <a:cubicBezTo>
                  <a:pt x="3474752" y="2366865"/>
                  <a:pt x="3593999" y="2046700"/>
                  <a:pt x="3706860" y="1723708"/>
                </a:cubicBezTo>
                <a:cubicBezTo>
                  <a:pt x="3783340" y="1536886"/>
                  <a:pt x="3858769" y="1349476"/>
                  <a:pt x="3936380" y="1163361"/>
                </a:cubicBezTo>
                <a:cubicBezTo>
                  <a:pt x="4039217" y="909043"/>
                  <a:pt x="4175037" y="699134"/>
                  <a:pt x="4337132" y="529510"/>
                </a:cubicBezTo>
                <a:cubicBezTo>
                  <a:pt x="4369187" y="495998"/>
                  <a:pt x="4402385" y="463487"/>
                  <a:pt x="4436557" y="432958"/>
                </a:cubicBezTo>
                <a:lnTo>
                  <a:pt x="4508920" y="374766"/>
                </a:lnTo>
                <a:lnTo>
                  <a:pt x="5115640" y="1091229"/>
                </a:lnTo>
                <a:lnTo>
                  <a:pt x="5115018" y="1104037"/>
                </a:lnTo>
                <a:cubicBezTo>
                  <a:pt x="5108399" y="1198640"/>
                  <a:pt x="5100234" y="1293347"/>
                  <a:pt x="5091987" y="1387995"/>
                </a:cubicBezTo>
                <a:cubicBezTo>
                  <a:pt x="5067734" y="1639603"/>
                  <a:pt x="5042105" y="1891330"/>
                  <a:pt x="5018983" y="2142938"/>
                </a:cubicBezTo>
                <a:cubicBezTo>
                  <a:pt x="5005644" y="2293597"/>
                  <a:pt x="4990608" y="2444372"/>
                  <a:pt x="4977834" y="2595032"/>
                </a:cubicBezTo>
                <a:cubicBezTo>
                  <a:pt x="5067734" y="2390188"/>
                  <a:pt x="5169275" y="2193354"/>
                  <a:pt x="5285289" y="2010773"/>
                </a:cubicBezTo>
                <a:cubicBezTo>
                  <a:pt x="5338404" y="1920778"/>
                  <a:pt x="5394693" y="1834376"/>
                  <a:pt x="5453822" y="1751596"/>
                </a:cubicBezTo>
                <a:lnTo>
                  <a:pt x="5559908" y="1615856"/>
                </a:lnTo>
                <a:lnTo>
                  <a:pt x="6798419" y="3078389"/>
                </a:lnTo>
                <a:lnTo>
                  <a:pt x="6799849" y="3155851"/>
                </a:lnTo>
                <a:cubicBezTo>
                  <a:pt x="6805751" y="3181058"/>
                  <a:pt x="6814160" y="3204853"/>
                  <a:pt x="6825478" y="3225821"/>
                </a:cubicBezTo>
                <a:cubicBezTo>
                  <a:pt x="6828712" y="3232181"/>
                  <a:pt x="6832269" y="3238306"/>
                  <a:pt x="6835906" y="3244195"/>
                </a:cubicBezTo>
                <a:cubicBezTo>
                  <a:pt x="6855794" y="3263514"/>
                  <a:pt x="6880938" y="3272467"/>
                  <a:pt x="6904383" y="3284010"/>
                </a:cubicBezTo>
                <a:cubicBezTo>
                  <a:pt x="6938742" y="3300266"/>
                  <a:pt x="6916024" y="3284717"/>
                  <a:pt x="6958630" y="3310750"/>
                </a:cubicBezTo>
                <a:cubicBezTo>
                  <a:pt x="6951435" y="3334898"/>
                  <a:pt x="6940360" y="3357279"/>
                  <a:pt x="6929041" y="3378717"/>
                </a:cubicBezTo>
                <a:cubicBezTo>
                  <a:pt x="6903291" y="3424363"/>
                  <a:pt x="6873864" y="3465944"/>
                  <a:pt x="6842183" y="3504197"/>
                </a:cubicBezTo>
                <a:lnTo>
                  <a:pt x="6793322" y="3555557"/>
                </a:lnTo>
                <a:lnTo>
                  <a:pt x="6601492" y="3718004"/>
                </a:lnTo>
                <a:lnTo>
                  <a:pt x="6534262" y="3758927"/>
                </a:lnTo>
                <a:cubicBezTo>
                  <a:pt x="6461450" y="3795767"/>
                  <a:pt x="6386122" y="3819325"/>
                  <a:pt x="6311623" y="3828455"/>
                </a:cubicBezTo>
                <a:cubicBezTo>
                  <a:pt x="6276293" y="3828455"/>
                  <a:pt x="6240237" y="3833285"/>
                  <a:pt x="6205393" y="3828809"/>
                </a:cubicBezTo>
                <a:cubicBezTo>
                  <a:pt x="6173378" y="3824333"/>
                  <a:pt x="6144192" y="3808312"/>
                  <a:pt x="6113794" y="3797240"/>
                </a:cubicBezTo>
                <a:cubicBezTo>
                  <a:pt x="6049199" y="3774269"/>
                  <a:pt x="6001500" y="3714077"/>
                  <a:pt x="5957763" y="3652471"/>
                </a:cubicBezTo>
                <a:cubicBezTo>
                  <a:pt x="5909660" y="3591336"/>
                  <a:pt x="5886294" y="3502990"/>
                  <a:pt x="5871500" y="3414408"/>
                </a:cubicBezTo>
                <a:cubicBezTo>
                  <a:pt x="5863092" y="3355511"/>
                  <a:pt x="5850885" y="3297792"/>
                  <a:pt x="5850157" y="3236186"/>
                </a:cubicBezTo>
                <a:cubicBezTo>
                  <a:pt x="5850400" y="3061026"/>
                  <a:pt x="5852987" y="2885394"/>
                  <a:pt x="5855735" y="2709763"/>
                </a:cubicBezTo>
                <a:cubicBezTo>
                  <a:pt x="5857594" y="2613761"/>
                  <a:pt x="5854684" y="2518584"/>
                  <a:pt x="5851694" y="2423524"/>
                </a:cubicBezTo>
                <a:cubicBezTo>
                  <a:pt x="5851046" y="2397963"/>
                  <a:pt x="5850480" y="2372284"/>
                  <a:pt x="5849753" y="2346604"/>
                </a:cubicBezTo>
                <a:cubicBezTo>
                  <a:pt x="5734872" y="2591499"/>
                  <a:pt x="5634056" y="2847583"/>
                  <a:pt x="5526775" y="3097071"/>
                </a:cubicBezTo>
                <a:cubicBezTo>
                  <a:pt x="5457490" y="3256446"/>
                  <a:pt x="5393056" y="3419474"/>
                  <a:pt x="5318032" y="3574844"/>
                </a:cubicBezTo>
                <a:cubicBezTo>
                  <a:pt x="5246403" y="3710896"/>
                  <a:pt x="5166607" y="3842120"/>
                  <a:pt x="5075333" y="3956380"/>
                </a:cubicBezTo>
                <a:cubicBezTo>
                  <a:pt x="5025128" y="4015748"/>
                  <a:pt x="4978641" y="4081831"/>
                  <a:pt x="4924556" y="4134603"/>
                </a:cubicBezTo>
                <a:cubicBezTo>
                  <a:pt x="4833929" y="4229308"/>
                  <a:pt x="4736267" y="4308114"/>
                  <a:pt x="4635048" y="4375727"/>
                </a:cubicBezTo>
                <a:cubicBezTo>
                  <a:pt x="4545875" y="4429088"/>
                  <a:pt x="4453550" y="4473143"/>
                  <a:pt x="4359931" y="4489634"/>
                </a:cubicBezTo>
                <a:cubicBezTo>
                  <a:pt x="4327754" y="4490459"/>
                  <a:pt x="4295577" y="4491401"/>
                  <a:pt x="4263401" y="4492344"/>
                </a:cubicBezTo>
                <a:cubicBezTo>
                  <a:pt x="4105994" y="4496819"/>
                  <a:pt x="4027817" y="4311764"/>
                  <a:pt x="3999117" y="4115284"/>
                </a:cubicBezTo>
                <a:cubicBezTo>
                  <a:pt x="3982786" y="4003734"/>
                  <a:pt x="3980765" y="3887470"/>
                  <a:pt x="3984242" y="3770618"/>
                </a:cubicBezTo>
                <a:cubicBezTo>
                  <a:pt x="3985940" y="3631857"/>
                  <a:pt x="3992407" y="3492388"/>
                  <a:pt x="4001623" y="3352685"/>
                </a:cubicBezTo>
                <a:cubicBezTo>
                  <a:pt x="4006959" y="3284364"/>
                  <a:pt x="4012699" y="3215926"/>
                  <a:pt x="4018520" y="3147604"/>
                </a:cubicBezTo>
                <a:cubicBezTo>
                  <a:pt x="3985453" y="3248554"/>
                  <a:pt x="3952307" y="3349504"/>
                  <a:pt x="3918918" y="3450336"/>
                </a:cubicBezTo>
                <a:cubicBezTo>
                  <a:pt x="3863701" y="3618781"/>
                  <a:pt x="3803389" y="3784753"/>
                  <a:pt x="3739925" y="3949076"/>
                </a:cubicBezTo>
                <a:cubicBezTo>
                  <a:pt x="3602570" y="4304932"/>
                  <a:pt x="3480251" y="4636405"/>
                  <a:pt x="3266332" y="4912986"/>
                </a:cubicBezTo>
                <a:cubicBezTo>
                  <a:pt x="3060904" y="5178613"/>
                  <a:pt x="2795488" y="5385106"/>
                  <a:pt x="2513418" y="5356836"/>
                </a:cubicBezTo>
                <a:cubicBezTo>
                  <a:pt x="2339681" y="5339519"/>
                  <a:pt x="2280583" y="5083199"/>
                  <a:pt x="2277187" y="4864456"/>
                </a:cubicBezTo>
                <a:cubicBezTo>
                  <a:pt x="2271851" y="4517434"/>
                  <a:pt x="2288263" y="4169823"/>
                  <a:pt x="2326260" y="3827159"/>
                </a:cubicBezTo>
                <a:cubicBezTo>
                  <a:pt x="2310617" y="3874203"/>
                  <a:pt x="2212992" y="4278650"/>
                  <a:pt x="2048658" y="4767608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23000">
                <a:srgbClr val="01326E"/>
              </a:gs>
              <a:gs pos="39000">
                <a:srgbClr val="063878"/>
              </a:gs>
              <a:gs pos="53000">
                <a:srgbClr val="0F4287"/>
              </a:gs>
              <a:gs pos="67000">
                <a:srgbClr val="1C519E"/>
              </a:gs>
              <a:gs pos="79000">
                <a:srgbClr val="2C63BA"/>
              </a:gs>
              <a:gs pos="91000">
                <a:srgbClr val="4079DD"/>
              </a:gs>
              <a:gs pos="100000">
                <a:srgbClr val="538FFF"/>
              </a:gs>
            </a:gsLst>
            <a:lin ang="13500000" scaled="1"/>
          </a:gradFill>
          <a:ln w="6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2BE0690-F2BB-4B76-BB0D-557C7721AA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053095"/>
            <a:ext cx="5545200" cy="396000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93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B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B4BF50-2D1E-CA40-0FB2-36E1EA6BA1F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3429000"/>
            <a:ext cx="7283937" cy="3429000"/>
          </a:xfrm>
          <a:prstGeom prst="rect">
            <a:avLst/>
          </a:prstGeom>
          <a:gradFill flip="none" rotWithShape="1">
            <a:gsLst>
              <a:gs pos="100000">
                <a:srgbClr val="538FFF"/>
              </a:gs>
              <a:gs pos="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5DA475-FB71-0BBA-510C-ADB2FD2DA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69" t="47897" r="25456" b="37789"/>
          <a:stretch/>
        </p:blipFill>
        <p:spPr>
          <a:xfrm>
            <a:off x="0" y="3429000"/>
            <a:ext cx="7283938" cy="3429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32EFA-8AA8-BF3A-8E90-B96BE7D6C8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1085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2BBFAD-E787-8011-D4CF-33339EB6A037}"/>
              </a:ext>
            </a:extLst>
          </p:cNvPr>
          <p:cNvGrpSpPr/>
          <p:nvPr userDrawn="1"/>
        </p:nvGrpSpPr>
        <p:grpSpPr>
          <a:xfrm>
            <a:off x="0" y="3429000"/>
            <a:ext cx="7283939" cy="3429000"/>
            <a:chOff x="0" y="3429000"/>
            <a:chExt cx="7283939" cy="3429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16B5D-D24E-9CB9-D617-AD70A2A126D8}"/>
                </a:ext>
              </a:extLst>
            </p:cNvPr>
            <p:cNvSpPr/>
            <p:nvPr/>
          </p:nvSpPr>
          <p:spPr>
            <a:xfrm>
              <a:off x="0" y="3429000"/>
              <a:ext cx="7283938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F2AA39B-CCCF-C240-23CB-DE7BB9273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90" t="31180" r="17841" b="39499"/>
            <a:stretch/>
          </p:blipFill>
          <p:spPr>
            <a:xfrm>
              <a:off x="1" y="3429000"/>
              <a:ext cx="7283938" cy="3428999"/>
            </a:xfrm>
            <a:prstGeom prst="rect">
              <a:avLst/>
            </a:prstGeom>
            <a:gradFill>
              <a:gsLst>
                <a:gs pos="100000">
                  <a:schemeClr val="accent4"/>
                </a:gs>
                <a:gs pos="15000">
                  <a:schemeClr val="accent5"/>
                </a:gs>
              </a:gsLst>
              <a:lin ang="18900000" scaled="0"/>
            </a:gradFill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7998FA82-AE58-DF57-EE9E-73FF8FEAD9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941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">
            <a:extLst>
              <a:ext uri="{FF2B5EF4-FFF2-40B4-BE49-F238E27FC236}">
                <a16:creationId xmlns:a16="http://schemas.microsoft.com/office/drawing/2014/main" id="{71EC193D-CC43-15CD-831C-49F8CD8C16BD}"/>
              </a:ext>
            </a:extLst>
          </p:cNvPr>
          <p:cNvSpPr>
            <a:spLocks/>
          </p:cNvSpPr>
          <p:nvPr/>
        </p:nvSpPr>
        <p:spPr bwMode="black">
          <a:xfrm>
            <a:off x="9211095" y="767925"/>
            <a:ext cx="2442107" cy="660400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Blue Block">
            <a:extLst>
              <a:ext uri="{FF2B5EF4-FFF2-40B4-BE49-F238E27FC236}">
                <a16:creationId xmlns:a16="http://schemas.microsoft.com/office/drawing/2014/main" id="{D00D9B82-CF9A-0D93-6F46-B6D1542878BF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BD3EDA2-78B7-6B49-D40E-E33D2D383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DD0DF77D-FC8F-101B-4675-31AF887AF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5462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B9FD7F-5FBF-985A-0063-937C8E3ACAB9}"/>
              </a:ext>
            </a:extLst>
          </p:cNvPr>
          <p:cNvGrpSpPr/>
          <p:nvPr userDrawn="1"/>
        </p:nvGrpSpPr>
        <p:grpSpPr>
          <a:xfrm>
            <a:off x="-1" y="3429000"/>
            <a:ext cx="7288438" cy="3429000"/>
            <a:chOff x="19893" y="7414846"/>
            <a:chExt cx="7288438" cy="3429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1F38A6-A653-4D8B-F6B4-8CC75E37B66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9894" y="7414846"/>
              <a:ext cx="7288437" cy="3429000"/>
            </a:xfrm>
            <a:prstGeom prst="rect">
              <a:avLst/>
            </a:prstGeom>
            <a:gradFill flip="none" rotWithShape="1">
              <a:gsLst>
                <a:gs pos="100000">
                  <a:schemeClr val="accent2"/>
                </a:gs>
                <a:gs pos="1000">
                  <a:schemeClr val="accent6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F7126E-93D4-E0D7-3AC2-EACA70BF8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10" t="53061" r="11726" b="7052"/>
            <a:stretch/>
          </p:blipFill>
          <p:spPr>
            <a:xfrm>
              <a:off x="19893" y="7414846"/>
              <a:ext cx="7288438" cy="3429000"/>
            </a:xfrm>
            <a:prstGeom prst="rect">
              <a:avLst/>
            </a:prstGeom>
          </p:spPr>
        </p:pic>
      </p:grp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9D3DA5B8-F575-6DF1-AC3B-8C7584D5B6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8816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8D6E85-46AB-B5D0-C4C2-D522E942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D7B03C3-5872-48EE-C266-2FF14E1A1C68}"/>
              </a:ext>
            </a:extLst>
          </p:cNvPr>
          <p:cNvGrpSpPr/>
          <p:nvPr userDrawn="1"/>
        </p:nvGrpSpPr>
        <p:grpSpPr>
          <a:xfrm>
            <a:off x="0" y="3429000"/>
            <a:ext cx="7288438" cy="3429000"/>
            <a:chOff x="0" y="3429000"/>
            <a:chExt cx="7288438" cy="3429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038A97-5369-6B5D-5B6A-EB11A293CCF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" y="3429000"/>
              <a:ext cx="7288437" cy="3429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A01EF1-C789-CE8A-1295-17E3F7488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391" t="46740" r="25927" b="25063"/>
            <a:stretch/>
          </p:blipFill>
          <p:spPr>
            <a:xfrm>
              <a:off x="0" y="3465513"/>
              <a:ext cx="7288438" cy="3392487"/>
            </a:xfrm>
            <a:prstGeom prst="rect">
              <a:avLst/>
            </a:prstGeom>
          </p:spPr>
        </p:pic>
      </p:grp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28112D3A-C423-0B68-D701-2CC0D24291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87939" y="1700808"/>
            <a:ext cx="3852000" cy="4320000"/>
          </a:xfrm>
        </p:spPr>
        <p:txBody>
          <a:bodyPr/>
          <a:lstStyle>
            <a:lvl4pPr>
              <a:defRPr/>
            </a:lvl4pPr>
            <a:lvl5pPr>
              <a:defRPr>
                <a:solidFill>
                  <a:schemeClr val="tx1"/>
                </a:solidFill>
              </a:defRPr>
            </a:lvl5pPr>
            <a:lvl7pPr marL="0" indent="0">
              <a:spcAft>
                <a:spcPts val="1800"/>
              </a:spcAft>
              <a:buFontTx/>
              <a:buNone/>
              <a:defRPr sz="4000">
                <a:solidFill>
                  <a:schemeClr val="tx1"/>
                </a:solidFill>
              </a:defRPr>
            </a:lvl7pPr>
            <a:lvl8pPr marL="0" indent="0">
              <a:spcBef>
                <a:spcPts val="1200"/>
              </a:spcBef>
              <a:spcAft>
                <a:spcPts val="1800"/>
              </a:spcAft>
              <a:buFontTx/>
              <a:buNone/>
              <a:defRPr sz="4000" b="0">
                <a:solidFill>
                  <a:schemeClr val="accent2"/>
                </a:solidFill>
                <a:latin typeface="+mj-lt"/>
              </a:defRPr>
            </a:lvl8pPr>
            <a:lvl9pPr>
              <a:spcBef>
                <a:spcPts val="600"/>
              </a:spcBef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4041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ght Blue Background Box">
            <a:extLst>
              <a:ext uri="{FF2B5EF4-FFF2-40B4-BE49-F238E27FC236}">
                <a16:creationId xmlns:a16="http://schemas.microsoft.com/office/drawing/2014/main" id="{B7DAB3D9-5015-A550-69A8-D68640397954}"/>
              </a:ext>
            </a:extLst>
          </p:cNvPr>
          <p:cNvSpPr/>
          <p:nvPr userDrawn="1"/>
        </p:nvSpPr>
        <p:spPr bwMode="white">
          <a:xfrm>
            <a:off x="6096000" y="0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E753F8DB-9E85-600E-CE65-6F0B5FAE55C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862DF7A4-F6DA-E5F4-FDC2-DC9F26006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234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35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/>
        </p:nvSpPr>
        <p:spPr bwMode="white">
          <a:xfrm>
            <a:off x="0" y="-1"/>
            <a:ext cx="6096000" cy="6857999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D4D98A6F-CCDA-3034-9A95-2A26056495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itle plus Content">
            <a:extLst>
              <a:ext uri="{FF2B5EF4-FFF2-40B4-BE49-F238E27FC236}">
                <a16:creationId xmlns:a16="http://schemas.microsoft.com/office/drawing/2014/main" id="{F7F8A338-A00D-2699-2172-8897CB3F03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ght Blue Background Box">
            <a:extLst>
              <a:ext uri="{FF2B5EF4-FFF2-40B4-BE49-F238E27FC236}">
                <a16:creationId xmlns:a16="http://schemas.microsoft.com/office/drawing/2014/main" id="{32688E28-A7F8-F719-86CF-44D80A540EE8}"/>
              </a:ext>
            </a:extLst>
          </p:cNvPr>
          <p:cNvSpPr/>
          <p:nvPr/>
        </p:nvSpPr>
        <p:spPr bwMode="white">
          <a:xfrm>
            <a:off x="6096000" y="0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5B97292-EA86-FEC6-A22B-B5948F7131E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AB6C8F20-9432-0223-5EEF-ECC8F9BD8F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94274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2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ock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ght BLue Background Box">
            <a:extLst>
              <a:ext uri="{FF2B5EF4-FFF2-40B4-BE49-F238E27FC236}">
                <a16:creationId xmlns:a16="http://schemas.microsoft.com/office/drawing/2014/main" id="{62DAFB2D-A6FA-E0E3-2171-2DD3336F39B2}"/>
              </a:ext>
            </a:extLst>
          </p:cNvPr>
          <p:cNvSpPr/>
          <p:nvPr userDrawn="1"/>
        </p:nvSpPr>
        <p:spPr bwMode="white">
          <a:xfrm>
            <a:off x="0" y="-1"/>
            <a:ext cx="6096000" cy="6857998"/>
          </a:xfrm>
          <a:prstGeom prst="rect">
            <a:avLst/>
          </a:prstGeom>
          <a:solidFill>
            <a:srgbClr val="EDFC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PT" sz="1600" dirty="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9D1692-EEFD-88EA-AC78-9DA3A4D838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7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C3FF2256-8276-CD87-E590-0FA57F8D98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489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3D200662-34CE-CF6E-6DAA-5C1324553BB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508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233A3AAD-F3AF-F8C3-E336-494A20B9CF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729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, Centr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87DC4C0B-4914-F9BB-BD66-CA2329654CB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30A964F-5F10-6427-5339-C3BF17997C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29678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>
                <a:solidFill>
                  <a:schemeClr val="tx1"/>
                </a:solidFill>
              </a:defRPr>
            </a:lvl4pPr>
            <a:lvl5pPr marL="252000" indent="-252000">
              <a:spcBef>
                <a:spcPts val="12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800" b="0">
                <a:solidFill>
                  <a:schemeClr val="bg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8pPr>
            <a:lvl9pPr>
              <a:defRPr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500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Title and Content with Swoo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quiggle">
            <a:extLst>
              <a:ext uri="{FF2B5EF4-FFF2-40B4-BE49-F238E27FC236}">
                <a16:creationId xmlns:a16="http://schemas.microsoft.com/office/drawing/2014/main" id="{00171972-DAD9-4461-D642-9E70587F1676}"/>
              </a:ext>
            </a:extLst>
          </p:cNvPr>
          <p:cNvSpPr/>
          <p:nvPr/>
        </p:nvSpPr>
        <p:spPr>
          <a:xfrm rot="440875">
            <a:off x="-195795" y="260446"/>
            <a:ext cx="12711259" cy="7374027"/>
          </a:xfrm>
          <a:custGeom>
            <a:avLst/>
            <a:gdLst>
              <a:gd name="connsiteX0" fmla="*/ 9701292 w 12711259"/>
              <a:gd name="connsiteY0" fmla="*/ 4999293 h 7374027"/>
              <a:gd name="connsiteX1" fmla="*/ 10349337 w 12711259"/>
              <a:gd name="connsiteY1" fmla="*/ 5865741 h 7374027"/>
              <a:gd name="connsiteX2" fmla="*/ 10354937 w 12711259"/>
              <a:gd name="connsiteY2" fmla="*/ 6113237 h 7374027"/>
              <a:gd name="connsiteX3" fmla="*/ 7871504 w 12711259"/>
              <a:gd name="connsiteY3" fmla="*/ 6434879 h 7374027"/>
              <a:gd name="connsiteX4" fmla="*/ 8130301 w 12711259"/>
              <a:gd name="connsiteY4" fmla="*/ 6165073 h 7374027"/>
              <a:gd name="connsiteX5" fmla="*/ 8586391 w 12711259"/>
              <a:gd name="connsiteY5" fmla="*/ 5725947 h 7374027"/>
              <a:gd name="connsiteX6" fmla="*/ 8542688 w 12711259"/>
              <a:gd name="connsiteY6" fmla="*/ 5767387 h 7374027"/>
              <a:gd name="connsiteX7" fmla="*/ 9701292 w 12711259"/>
              <a:gd name="connsiteY7" fmla="*/ 4999293 h 7374027"/>
              <a:gd name="connsiteX8" fmla="*/ 12556234 w 12711259"/>
              <a:gd name="connsiteY8" fmla="*/ 4605882 h 7374027"/>
              <a:gd name="connsiteX9" fmla="*/ 12711259 w 12711259"/>
              <a:gd name="connsiteY9" fmla="*/ 5808059 h 7374027"/>
              <a:gd name="connsiteX10" fmla="*/ 10948599 w 12711259"/>
              <a:gd name="connsiteY10" fmla="*/ 6036348 h 7374027"/>
              <a:gd name="connsiteX11" fmla="*/ 10995446 w 12711259"/>
              <a:gd name="connsiteY11" fmla="*/ 5971853 h 7374027"/>
              <a:gd name="connsiteX12" fmla="*/ 12509398 w 12711259"/>
              <a:gd name="connsiteY12" fmla="*/ 4619614 h 7374027"/>
              <a:gd name="connsiteX13" fmla="*/ 4089853 w 12711259"/>
              <a:gd name="connsiteY13" fmla="*/ 0 h 7374027"/>
              <a:gd name="connsiteX14" fmla="*/ 4032572 w 12711259"/>
              <a:gd name="connsiteY14" fmla="*/ 208780 h 7374027"/>
              <a:gd name="connsiteX15" fmla="*/ 3110385 w 12711259"/>
              <a:gd name="connsiteY15" fmla="*/ 5050887 h 7374027"/>
              <a:gd name="connsiteX16" fmla="*/ 5214964 w 12711259"/>
              <a:gd name="connsiteY16" fmla="*/ 6484237 h 7374027"/>
              <a:gd name="connsiteX17" fmla="*/ 5130975 w 12711259"/>
              <a:gd name="connsiteY17" fmla="*/ 6789819 h 7374027"/>
              <a:gd name="connsiteX18" fmla="*/ 620243 w 12711259"/>
              <a:gd name="connsiteY18" fmla="*/ 7374027 h 7374027"/>
              <a:gd name="connsiteX19" fmla="*/ 595618 w 12711259"/>
              <a:gd name="connsiteY19" fmla="*/ 7183063 h 7374027"/>
              <a:gd name="connsiteX20" fmla="*/ 643367 w 12711259"/>
              <a:gd name="connsiteY20" fmla="*/ 6815536 h 7374027"/>
              <a:gd name="connsiteX21" fmla="*/ 1874812 w 12711259"/>
              <a:gd name="connsiteY21" fmla="*/ 1239581 h 7374027"/>
              <a:gd name="connsiteX22" fmla="*/ 592446 w 12711259"/>
              <a:gd name="connsiteY22" fmla="*/ 3773236 h 7374027"/>
              <a:gd name="connsiteX23" fmla="*/ 252389 w 12711259"/>
              <a:gd name="connsiteY23" fmla="*/ 4521405 h 7374027"/>
              <a:gd name="connsiteX24" fmla="*/ 0 w 12711259"/>
              <a:gd name="connsiteY24" fmla="*/ 2564185 h 7374027"/>
              <a:gd name="connsiteX25" fmla="*/ 286966 w 12711259"/>
              <a:gd name="connsiteY25" fmla="*/ 2061285 h 7374027"/>
              <a:gd name="connsiteX26" fmla="*/ 1294415 w 12711259"/>
              <a:gd name="connsiteY26" fmla="*/ 424798 h 7374027"/>
              <a:gd name="connsiteX27" fmla="*/ 1340058 w 12711259"/>
              <a:gd name="connsiteY27" fmla="*/ 356138 h 7374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11259" h="7374027">
                <a:moveTo>
                  <a:pt x="9701292" y="4999293"/>
                </a:moveTo>
                <a:cubicBezTo>
                  <a:pt x="10102115" y="4956977"/>
                  <a:pt x="10311719" y="5310803"/>
                  <a:pt x="10349337" y="5865741"/>
                </a:cubicBezTo>
                <a:lnTo>
                  <a:pt x="10354937" y="6113237"/>
                </a:lnTo>
                <a:lnTo>
                  <a:pt x="7871504" y="6434879"/>
                </a:lnTo>
                <a:lnTo>
                  <a:pt x="8130301" y="6165073"/>
                </a:lnTo>
                <a:cubicBezTo>
                  <a:pt x="8279037" y="6015936"/>
                  <a:pt x="8431002" y="5869496"/>
                  <a:pt x="8586391" y="5725947"/>
                </a:cubicBezTo>
                <a:lnTo>
                  <a:pt x="8542688" y="5767387"/>
                </a:lnTo>
                <a:cubicBezTo>
                  <a:pt x="9031123" y="5261858"/>
                  <a:pt x="9414988" y="5029518"/>
                  <a:pt x="9701292" y="4999293"/>
                </a:cubicBezTo>
                <a:close/>
                <a:moveTo>
                  <a:pt x="12556234" y="4605882"/>
                </a:moveTo>
                <a:lnTo>
                  <a:pt x="12711259" y="5808059"/>
                </a:lnTo>
                <a:lnTo>
                  <a:pt x="10948599" y="6036348"/>
                </a:lnTo>
                <a:lnTo>
                  <a:pt x="10995446" y="5971853"/>
                </a:lnTo>
                <a:cubicBezTo>
                  <a:pt x="11423632" y="5393813"/>
                  <a:pt x="11894510" y="4843458"/>
                  <a:pt x="12509398" y="4619614"/>
                </a:cubicBezTo>
                <a:close/>
                <a:moveTo>
                  <a:pt x="4089853" y="0"/>
                </a:moveTo>
                <a:lnTo>
                  <a:pt x="4032572" y="208780"/>
                </a:lnTo>
                <a:cubicBezTo>
                  <a:pt x="3477322" y="2228129"/>
                  <a:pt x="2859788" y="4443395"/>
                  <a:pt x="3110385" y="5050887"/>
                </a:cubicBezTo>
                <a:cubicBezTo>
                  <a:pt x="6202762" y="1120562"/>
                  <a:pt x="6073909" y="3270086"/>
                  <a:pt x="5214964" y="6484237"/>
                </a:cubicBezTo>
                <a:lnTo>
                  <a:pt x="5130975" y="6789819"/>
                </a:lnTo>
                <a:lnTo>
                  <a:pt x="620243" y="7374027"/>
                </a:lnTo>
                <a:lnTo>
                  <a:pt x="595618" y="7183063"/>
                </a:lnTo>
                <a:lnTo>
                  <a:pt x="643367" y="6815536"/>
                </a:lnTo>
                <a:cubicBezTo>
                  <a:pt x="932082" y="4762876"/>
                  <a:pt x="1606054" y="2200633"/>
                  <a:pt x="1874812" y="1239581"/>
                </a:cubicBezTo>
                <a:cubicBezTo>
                  <a:pt x="1415408" y="2068758"/>
                  <a:pt x="993356" y="2915911"/>
                  <a:pt x="592446" y="3773236"/>
                </a:cubicBezTo>
                <a:lnTo>
                  <a:pt x="252389" y="4521405"/>
                </a:lnTo>
                <a:lnTo>
                  <a:pt x="0" y="2564185"/>
                </a:lnTo>
                <a:lnTo>
                  <a:pt x="286966" y="2061285"/>
                </a:lnTo>
                <a:cubicBezTo>
                  <a:pt x="616643" y="1494520"/>
                  <a:pt x="955203" y="944905"/>
                  <a:pt x="1294415" y="424798"/>
                </a:cubicBezTo>
                <a:lnTo>
                  <a:pt x="1340058" y="356138"/>
                </a:lnTo>
                <a:close/>
              </a:path>
            </a:pathLst>
          </a:custGeom>
          <a:gradFill>
            <a:gsLst>
              <a:gs pos="0">
                <a:srgbClr val="E3E3E3"/>
              </a:gs>
              <a:gs pos="50000">
                <a:srgbClr val="E5E5E5"/>
              </a:gs>
              <a:gs pos="75000">
                <a:srgbClr val="ECECEC"/>
              </a:gs>
              <a:gs pos="95000">
                <a:srgbClr val="FAFAFA"/>
              </a:gs>
              <a:gs pos="100000">
                <a:srgbClr val="FFFFFF"/>
              </a:gs>
            </a:gsLst>
            <a:lin ang="13500000" scaled="1"/>
          </a:gradFill>
          <a:ln w="117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Page Number">
            <a:extLst>
              <a:ext uri="{FF2B5EF4-FFF2-40B4-BE49-F238E27FC236}">
                <a16:creationId xmlns:a16="http://schemas.microsoft.com/office/drawing/2014/main" id="{34F5AC4A-6FD4-AE1B-DE83-4DA75E86F5DC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81404B19-3C29-F557-1857-9D5B937FCD7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588000" y="855000"/>
            <a:ext cx="5040000" cy="51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le plus Content">
            <a:extLst>
              <a:ext uri="{FF2B5EF4-FFF2-40B4-BE49-F238E27FC236}">
                <a16:creationId xmlns:a16="http://schemas.microsoft.com/office/drawing/2014/main" id="{45EBC170-48B0-4CF4-F8CC-B91B703AA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5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4158" userDrawn="1">
          <p15:clr>
            <a:srgbClr val="FBAE40"/>
          </p15:clr>
        </p15:guide>
        <p15:guide id="11" pos="3522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61C9325A-143B-C086-CC26-A49B2A34A1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ounded box shadow 15.4cm">
            <a:extLst>
              <a:ext uri="{FF2B5EF4-FFF2-40B4-BE49-F238E27FC236}">
                <a16:creationId xmlns:a16="http://schemas.microsoft.com/office/drawing/2014/main" id="{F9324273-5E02-E384-973C-BEB9B03CD9EB}"/>
              </a:ext>
            </a:extLst>
          </p:cNvPr>
          <p:cNvSpPr>
            <a:spLocks/>
          </p:cNvSpPr>
          <p:nvPr userDrawn="1"/>
        </p:nvSpPr>
        <p:spPr>
          <a:xfrm>
            <a:off x="6096000" y="1701000"/>
            <a:ext cx="55440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7623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 Block">
            <a:extLst>
              <a:ext uri="{FF2B5EF4-FFF2-40B4-BE49-F238E27FC236}">
                <a16:creationId xmlns:a16="http://schemas.microsoft.com/office/drawing/2014/main" id="{12453F8B-CE7E-AFE0-3462-35D246540372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4860000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738DAB-25E3-9346-CA31-170E03F8D7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1928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box shadow 15.4cm">
            <a:extLst>
              <a:ext uri="{FF2B5EF4-FFF2-40B4-BE49-F238E27FC236}">
                <a16:creationId xmlns:a16="http://schemas.microsoft.com/office/drawing/2014/main" id="{71AA9E56-2169-4EE4-DECA-A5FE2400A7DC}"/>
              </a:ext>
            </a:extLst>
          </p:cNvPr>
          <p:cNvSpPr>
            <a:spLocks/>
          </p:cNvSpPr>
          <p:nvPr/>
        </p:nvSpPr>
        <p:spPr>
          <a:xfrm>
            <a:off x="550800" y="1701000"/>
            <a:ext cx="5545200" cy="3456000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9AB75B78-866E-BD40-6649-790407DDB0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30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58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Lef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3A8205A9-953F-940D-2D52-F3823977D145}"/>
              </a:ext>
            </a:extLst>
          </p:cNvPr>
          <p:cNvSpPr>
            <a:spLocks/>
          </p:cNvSpPr>
          <p:nvPr userDrawn="1"/>
        </p:nvSpPr>
        <p:spPr>
          <a:xfrm>
            <a:off x="6096000" y="836613"/>
            <a:ext cx="5544000" cy="5184775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7" name="Title plus Content">
            <a:extLst>
              <a:ext uri="{FF2B5EF4-FFF2-40B4-BE49-F238E27FC236}">
                <a16:creationId xmlns:a16="http://schemas.microsoft.com/office/drawing/2014/main" id="{1D86D189-69EC-D31E-EC4F-AC1670290D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97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522" userDrawn="1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Right larg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box full half">
            <a:extLst>
              <a:ext uri="{FF2B5EF4-FFF2-40B4-BE49-F238E27FC236}">
                <a16:creationId xmlns:a16="http://schemas.microsoft.com/office/drawing/2014/main" id="{CB90E03C-6C50-AE93-C5CE-D641F0B03CFE}"/>
              </a:ext>
            </a:extLst>
          </p:cNvPr>
          <p:cNvSpPr>
            <a:spLocks/>
          </p:cNvSpPr>
          <p:nvPr userDrawn="1"/>
        </p:nvSpPr>
        <p:spPr>
          <a:xfrm>
            <a:off x="550800" y="836613"/>
            <a:ext cx="5545200" cy="5184775"/>
          </a:xfrm>
          <a:prstGeom prst="roundRect">
            <a:avLst>
              <a:gd name="adj" fmla="val 5218"/>
            </a:avLst>
          </a:prstGeom>
          <a:solidFill>
            <a:schemeClr val="bg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/>
          </a:p>
        </p:txBody>
      </p:sp>
      <p:sp>
        <p:nvSpPr>
          <p:cNvPr id="6" name="Title plus Content">
            <a:extLst>
              <a:ext uri="{FF2B5EF4-FFF2-40B4-BE49-F238E27FC236}">
                <a16:creationId xmlns:a16="http://schemas.microsoft.com/office/drawing/2014/main" id="{B6654FCF-9E23-F30B-D796-174B643B33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88000" y="2406060"/>
            <a:ext cx="5040000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8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15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uiggle">
            <a:extLst>
              <a:ext uri="{FF2B5EF4-FFF2-40B4-BE49-F238E27FC236}">
                <a16:creationId xmlns:a16="http://schemas.microsoft.com/office/drawing/2014/main" id="{A28941CA-3513-CE83-4DDD-76D497F6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325" t="40861" r="22020" b="40196"/>
          <a:stretch/>
        </p:blipFill>
        <p:spPr>
          <a:xfrm>
            <a:off x="-1" y="3207362"/>
            <a:ext cx="7754745" cy="3650638"/>
          </a:xfrm>
          <a:prstGeom prst="rect">
            <a:avLst/>
          </a:prstGeom>
        </p:spPr>
      </p:pic>
      <p:pic>
        <p:nvPicPr>
          <p:cNvPr id="2" name="Laptop">
            <a:extLst>
              <a:ext uri="{FF2B5EF4-FFF2-40B4-BE49-F238E27FC236}">
                <a16:creationId xmlns:a16="http://schemas.microsoft.com/office/drawing/2014/main" id="{673B24E1-9478-7908-545C-1867256DD1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2" t="21192" r="5748" b="22148"/>
          <a:stretch/>
        </p:blipFill>
        <p:spPr>
          <a:xfrm>
            <a:off x="203200" y="990600"/>
            <a:ext cx="7315199" cy="4682233"/>
          </a:xfrm>
          <a:prstGeom prst="rect">
            <a:avLst/>
          </a:prstGeom>
          <a:effectLst>
            <a:outerShdw blurRad="635000" dist="190500" dir="7200000" sx="105000" sy="105000" algn="tl" rotWithShape="0">
              <a:prstClr val="black">
                <a:alpha val="20000"/>
              </a:prstClr>
            </a:outerShdw>
          </a:effec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2A86130-EA91-646F-768A-204D64E295D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106493" y="1600200"/>
            <a:ext cx="5497507" cy="34544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EB91291E-44FC-3004-CDB6-BCAC208DA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5601" y="2052117"/>
            <a:ext cx="3454400" cy="2753767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GB" sz="4600" b="1" kern="1200" dirty="0">
                <a:solidFill>
                  <a:schemeClr val="tx2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0" indent="0" algn="l" defTabSz="1219170" rtl="0" eaLnBrk="1" fontAlgn="base" latinLnBrk="0" hangingPunct="1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Segoe UI Semilight" panose="020B0502040204020203" pitchFamily="34" charset="0"/>
                <a:ea typeface="+mn-ea"/>
                <a:cs typeface="Segoe UI Semilight" panose="020B0502040204020203" pitchFamily="34" charset="0"/>
              </a:defRPr>
            </a:lvl2pPr>
            <a:lvl3pPr marL="0" indent="0">
              <a:spcBef>
                <a:spcPts val="1200"/>
              </a:spcBef>
              <a:buClrTx/>
              <a:buFontTx/>
              <a:buNone/>
              <a:defRPr>
                <a:solidFill>
                  <a:schemeClr val="tx1"/>
                </a:solidFill>
              </a:defRPr>
            </a:lvl3pPr>
            <a:lvl4pPr marL="252000" indent="-252000">
              <a:spcBef>
                <a:spcPts val="12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537750" indent="-285750">
              <a:spcBef>
                <a:spcPts val="0"/>
              </a:spcBef>
              <a:buFont typeface="Symbol" panose="05050102010706020507" pitchFamily="18" charset="2"/>
              <a:buChar char=""/>
              <a:defRPr sz="1800" b="0" baseline="0"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2000">
                <a:solidFill>
                  <a:schemeClr val="accent2"/>
                </a:solidFill>
              </a:defRPr>
            </a:lvl7pPr>
            <a:lvl8pPr marL="0" indent="0"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113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rgbClr val="EDFCFF"/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egoe UI Semilight" panose="020B0402040204020203" pitchFamily="34" charset="0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C6FD7E38-F2D4-D0B2-674F-A73B7A0E4C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1691826"/>
            <a:ext cx="5543749" cy="3474349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3338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45A0CA-77D2-4622-AB84-A5AD64AEB2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269000"/>
            <a:ext cx="6096000" cy="4320000"/>
          </a:xfrm>
          <a:prstGeom prst="rect">
            <a:avLst/>
          </a:prstGeom>
          <a:solidFill>
            <a:srgbClr val="EDFCFF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5" name="Title plus Content">
            <a:extLst>
              <a:ext uri="{FF2B5EF4-FFF2-40B4-BE49-F238E27FC236}">
                <a16:creationId xmlns:a16="http://schemas.microsoft.com/office/drawing/2014/main" id="{8CE17E58-CC43-8409-A36C-95B50D3FE3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799" y="2370665"/>
            <a:ext cx="5040000" cy="2116670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183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0266506-7111-89EA-5EFD-A5D40B6D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2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2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4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5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0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us Content">
            <a:extLst>
              <a:ext uri="{FF2B5EF4-FFF2-40B4-BE49-F238E27FC236}">
                <a16:creationId xmlns:a16="http://schemas.microsoft.com/office/drawing/2014/main" id="{C5A556B7-0791-621C-816F-9C7E53970E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286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4884C31-EC1F-A70F-FF1B-C8B8710346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plus Content">
            <a:extLst>
              <a:ext uri="{FF2B5EF4-FFF2-40B4-BE49-F238E27FC236}">
                <a16:creationId xmlns:a16="http://schemas.microsoft.com/office/drawing/2014/main" id="{77BF0EF0-91A4-5D2D-3D5C-50AC189ACD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845218"/>
            <a:ext cx="8639999" cy="1167564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460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880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4pPr>
            <a:lvl5pPr marL="0" indent="0" algn="ctr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1"/>
                </a:solidFill>
                <a:latin typeface="+mj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4600" b="1">
                <a:solidFill>
                  <a:schemeClr val="accent3"/>
                </a:solidFill>
                <a:latin typeface="+mj-lt"/>
              </a:defRPr>
            </a:lvl8pPr>
            <a:lvl9pPr algn="ctr">
              <a:defRPr sz="4600" b="1">
                <a:solidFill>
                  <a:schemeClr val="accent4"/>
                </a:solidFill>
                <a:latin typeface="+mj-lt"/>
              </a:defRPr>
            </a:lvl9pPr>
          </a:lstStyle>
          <a:p>
            <a:pPr lvl="0"/>
            <a:r>
              <a:rPr lang="en-GB" dirty="0"/>
              <a:t>Text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01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4158" userDrawn="1">
          <p15:clr>
            <a:srgbClr val="FBAE40"/>
          </p15:clr>
        </p15:guide>
        <p15:guide id="6" pos="3522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DFCFF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0EAB5203-EB9A-897F-4EF6-58F6F2BD253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BD4269F-8B15-0029-4910-00DF98A376D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428999"/>
            <a:ext cx="4470400" cy="3428999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609600" tIns="203200" rIns="203200" bIns="203200" rtlCol="0" anchor="t" anchorCtr="0">
            <a:noAutofit/>
          </a:bodyPr>
          <a:lstStyle>
            <a:lvl1pPr algn="l">
              <a:lnSpc>
                <a:spcPct val="110000"/>
              </a:lnSpc>
              <a:defRPr lang="de-DE" sz="4600" b="1" i="0" spc="0" baseline="0" dirty="0">
                <a:solidFill>
                  <a:schemeClr val="tx2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3631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94DFF69-2016-9DA3-0C59-AD16B7737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3" name="Block">
            <a:extLst>
              <a:ext uri="{FF2B5EF4-FFF2-40B4-BE49-F238E27FC236}">
                <a16:creationId xmlns:a16="http://schemas.microsoft.com/office/drawing/2014/main" id="{652B8FD6-74FC-514C-F519-0CBE970EAED5}"/>
              </a:ext>
            </a:extLst>
          </p:cNvPr>
          <p:cNvGrpSpPr/>
          <p:nvPr/>
        </p:nvGrpSpPr>
        <p:grpSpPr>
          <a:xfrm>
            <a:off x="0" y="0"/>
            <a:ext cx="4876800" cy="4680000"/>
            <a:chOff x="0" y="0"/>
            <a:chExt cx="4876800" cy="4648201"/>
          </a:xfrm>
        </p:grpSpPr>
        <p:sp>
          <p:nvSpPr>
            <p:cNvPr id="8" name="Bright Blue Block">
              <a:extLst>
                <a:ext uri="{FF2B5EF4-FFF2-40B4-BE49-F238E27FC236}">
                  <a16:creationId xmlns:a16="http://schemas.microsoft.com/office/drawing/2014/main" id="{55D49043-F59D-C045-9BBB-BC80EA2A2525}"/>
                </a:ext>
              </a:extLst>
            </p:cNvPr>
            <p:cNvSpPr/>
            <p:nvPr/>
          </p:nvSpPr>
          <p:spPr bwMode="white">
            <a:xfrm>
              <a:off x="0" y="1"/>
              <a:ext cx="4876800" cy="4648200"/>
            </a:xfrm>
            <a:prstGeom prst="rect">
              <a:avLst/>
            </a:prstGeom>
            <a:gradFill>
              <a:gsLst>
                <a:gs pos="71000">
                  <a:srgbClr val="538FFF"/>
                </a:gs>
                <a:gs pos="44000">
                  <a:srgbClr val="538FFF"/>
                </a:gs>
                <a:gs pos="19000">
                  <a:srgbClr val="1E52A1">
                    <a:lumMod val="93000"/>
                    <a:lumOff val="7000"/>
                  </a:srgbClr>
                </a:gs>
                <a:gs pos="100000">
                  <a:srgbClr val="538FFF"/>
                </a:gs>
                <a:gs pos="1000">
                  <a:srgbClr val="0A3B7D"/>
                </a:gs>
              </a:gsLst>
              <a:lin ang="1332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PT">
                <a:solidFill>
                  <a:schemeClr val="lt1"/>
                </a:solidFill>
              </a:endParaRPr>
            </a:p>
          </p:txBody>
        </p:sp>
        <p:sp>
          <p:nvSpPr>
            <p:cNvPr id="11" name="Squiggle">
              <a:extLst>
                <a:ext uri="{FF2B5EF4-FFF2-40B4-BE49-F238E27FC236}">
                  <a16:creationId xmlns:a16="http://schemas.microsoft.com/office/drawing/2014/main" id="{49CD59CD-2AFD-FE85-1E90-9F7833A01A25}"/>
                </a:ext>
              </a:extLst>
            </p:cNvPr>
            <p:cNvSpPr/>
            <p:nvPr/>
          </p:nvSpPr>
          <p:spPr>
            <a:xfrm>
              <a:off x="0" y="0"/>
              <a:ext cx="4876800" cy="4648200"/>
            </a:xfrm>
            <a:custGeom>
              <a:avLst/>
              <a:gdLst>
                <a:gd name="connsiteX0" fmla="*/ 0 w 4876800"/>
                <a:gd name="connsiteY0" fmla="*/ 0 h 4648200"/>
                <a:gd name="connsiteX1" fmla="*/ 2670238 w 4876800"/>
                <a:gd name="connsiteY1" fmla="*/ 0 h 4648200"/>
                <a:gd name="connsiteX2" fmla="*/ 3251333 w 4876800"/>
                <a:gd name="connsiteY2" fmla="*/ 517355 h 4648200"/>
                <a:gd name="connsiteX3" fmla="*/ 4616160 w 4876800"/>
                <a:gd name="connsiteY3" fmla="*/ 1736231 h 4648200"/>
                <a:gd name="connsiteX4" fmla="*/ 4876800 w 4876800"/>
                <a:gd name="connsiteY4" fmla="*/ 1979901 h 4648200"/>
                <a:gd name="connsiteX5" fmla="*/ 4876800 w 4876800"/>
                <a:gd name="connsiteY5" fmla="*/ 3115238 h 4648200"/>
                <a:gd name="connsiteX6" fmla="*/ 4717223 w 4876800"/>
                <a:gd name="connsiteY6" fmla="*/ 2960531 h 4648200"/>
                <a:gd name="connsiteX7" fmla="*/ 1552986 w 4876800"/>
                <a:gd name="connsiteY7" fmla="*/ 109887 h 4648200"/>
                <a:gd name="connsiteX8" fmla="*/ 4260751 w 4876800"/>
                <a:gd name="connsiteY8" fmla="*/ 4355467 h 4648200"/>
                <a:gd name="connsiteX9" fmla="*/ 4417260 w 4876800"/>
                <a:gd name="connsiteY9" fmla="*/ 4648200 h 4648200"/>
                <a:gd name="connsiteX10" fmla="*/ 390191 w 4876800"/>
                <a:gd name="connsiteY10" fmla="*/ 4648200 h 4648200"/>
                <a:gd name="connsiteX11" fmla="*/ 4695 w 4876800"/>
                <a:gd name="connsiteY11" fmla="*/ 4056511 h 4648200"/>
                <a:gd name="connsiteX12" fmla="*/ 0 w 4876800"/>
                <a:gd name="connsiteY12" fmla="*/ 4024130 h 4648200"/>
                <a:gd name="connsiteX13" fmla="*/ 0 w 4876800"/>
                <a:gd name="connsiteY13" fmla="*/ 2392129 h 4648200"/>
                <a:gd name="connsiteX14" fmla="*/ 160541 w 4876800"/>
                <a:gd name="connsiteY14" fmla="*/ 2447325 h 4648200"/>
                <a:gd name="connsiteX15" fmla="*/ 1735139 w 4876800"/>
                <a:gd name="connsiteY15" fmla="*/ 3206469 h 4648200"/>
                <a:gd name="connsiteX16" fmla="*/ 108175 w 4876800"/>
                <a:gd name="connsiteY16" fmla="*/ 418305 h 4648200"/>
                <a:gd name="connsiteX17" fmla="*/ 0 w 4876800"/>
                <a:gd name="connsiteY17" fmla="*/ 258755 h 464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76800" h="4648200">
                  <a:moveTo>
                    <a:pt x="0" y="0"/>
                  </a:moveTo>
                  <a:lnTo>
                    <a:pt x="2670238" y="0"/>
                  </a:lnTo>
                  <a:lnTo>
                    <a:pt x="3251333" y="517355"/>
                  </a:lnTo>
                  <a:cubicBezTo>
                    <a:pt x="3703273" y="916643"/>
                    <a:pt x="4152812" y="1310328"/>
                    <a:pt x="4616160" y="1736231"/>
                  </a:cubicBezTo>
                  <a:lnTo>
                    <a:pt x="4876800" y="1979901"/>
                  </a:lnTo>
                  <a:lnTo>
                    <a:pt x="4876800" y="3115238"/>
                  </a:lnTo>
                  <a:lnTo>
                    <a:pt x="4717223" y="2960531"/>
                  </a:lnTo>
                  <a:cubicBezTo>
                    <a:pt x="2977630" y="1278774"/>
                    <a:pt x="2656650" y="1112355"/>
                    <a:pt x="1552986" y="109887"/>
                  </a:cubicBezTo>
                  <a:cubicBezTo>
                    <a:pt x="2546389" y="1475815"/>
                    <a:pt x="2400157" y="885368"/>
                    <a:pt x="4260751" y="4355467"/>
                  </a:cubicBezTo>
                  <a:lnTo>
                    <a:pt x="4417260" y="4648200"/>
                  </a:lnTo>
                  <a:lnTo>
                    <a:pt x="390191" y="4648200"/>
                  </a:lnTo>
                  <a:lnTo>
                    <a:pt x="4695" y="4056511"/>
                  </a:lnTo>
                  <a:lnTo>
                    <a:pt x="0" y="4024130"/>
                  </a:lnTo>
                  <a:lnTo>
                    <a:pt x="0" y="2392129"/>
                  </a:lnTo>
                  <a:lnTo>
                    <a:pt x="160541" y="2447325"/>
                  </a:lnTo>
                  <a:cubicBezTo>
                    <a:pt x="586623" y="2597715"/>
                    <a:pt x="1118268" y="2816866"/>
                    <a:pt x="1735139" y="3206469"/>
                  </a:cubicBezTo>
                  <a:cubicBezTo>
                    <a:pt x="1612651" y="2856712"/>
                    <a:pt x="816105" y="1476499"/>
                    <a:pt x="108175" y="418305"/>
                  </a:cubicBezTo>
                  <a:lnTo>
                    <a:pt x="0" y="258755"/>
                  </a:lnTo>
                  <a:close/>
                </a:path>
              </a:pathLst>
            </a:custGeom>
            <a:gradFill>
              <a:gsLst>
                <a:gs pos="100000">
                  <a:srgbClr val="356DCA"/>
                </a:gs>
                <a:gs pos="0">
                  <a:srgbClr val="3067C1">
                    <a:lumMod val="93000"/>
                    <a:lumOff val="7000"/>
                  </a:srgbClr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611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_Spec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Special">
            <a:extLst>
              <a:ext uri="{FF2B5EF4-FFF2-40B4-BE49-F238E27FC236}">
                <a16:creationId xmlns:a16="http://schemas.microsoft.com/office/drawing/2014/main" id="{30915A37-2073-1835-1333-20479AFB9FCE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fillOverlay blend="mult">
              <a:gradFill flip="none" rotWithShape="1">
                <a:gsLst>
                  <a:gs pos="27000">
                    <a:srgbClr val="072853">
                      <a:alpha val="77655"/>
                    </a:srgbClr>
                  </a:gs>
                  <a:gs pos="100000">
                    <a:srgbClr val="E3E3E3">
                      <a:lumMod val="10000"/>
                      <a:alpha val="0"/>
                    </a:srgbClr>
                  </a:gs>
                  <a:gs pos="1000">
                    <a:srgbClr val="538FFF">
                      <a:alpha val="19000"/>
                    </a:srgbClr>
                  </a:gs>
                </a:gsLst>
                <a:lin ang="18900000" scaled="1"/>
                <a:tileRect/>
              </a:gradFill>
            </a:fillOverlay>
          </a:effectLst>
        </p:spPr>
        <p:txBody>
          <a:bodyPr rtlCol="0" anchor="ctr"/>
          <a:lstStyle>
            <a:lvl1pPr algn="ctr">
              <a:defRPr kumimoji="0" lang="en-US" b="0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</a:defRPr>
            </a:lvl1pPr>
          </a:lstStyle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 </a:t>
            </a:r>
          </a:p>
        </p:txBody>
      </p:sp>
      <p:sp>
        <p:nvSpPr>
          <p:cNvPr id="2" name="Gradient Overlay">
            <a:extLst>
              <a:ext uri="{FF2B5EF4-FFF2-40B4-BE49-F238E27FC236}">
                <a16:creationId xmlns:a16="http://schemas.microsoft.com/office/drawing/2014/main" id="{B640A9B8-017D-770A-F926-BD345E7FCF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rgbClr val="072853">
                  <a:alpha val="77655"/>
                </a:srgbClr>
              </a:gs>
              <a:gs pos="100000">
                <a:srgbClr val="E3E3E3">
                  <a:lumMod val="10000"/>
                  <a:alpha val="0"/>
                </a:srgbClr>
              </a:gs>
              <a:gs pos="1000">
                <a:srgbClr val="538FFF">
                  <a:alpha val="19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76F9FC46-6208-CC39-7B3E-CA57286B34C9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itle plus Content">
            <a:extLst>
              <a:ext uri="{FF2B5EF4-FFF2-40B4-BE49-F238E27FC236}">
                <a16:creationId xmlns:a16="http://schemas.microsoft.com/office/drawing/2014/main" id="{A6E6DCA2-8017-4CD2-28FB-E1A0A96746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" y="2406060"/>
            <a:ext cx="5003999" cy="2045881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4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30000"/>
              </a:lnSpc>
              <a:buFontTx/>
              <a:buNone/>
              <a:defRPr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3pPr>
            <a:lvl4pPr marL="0" indent="0">
              <a:spcBef>
                <a:spcPts val="1200"/>
              </a:spcBef>
              <a:buClr>
                <a:schemeClr val="tx2"/>
              </a:buClr>
              <a:buFontTx/>
              <a:buNone/>
              <a:defRPr/>
            </a:lvl4pPr>
            <a:lvl5pPr marL="252000" indent="-2520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5pPr>
            <a:lvl6pPr marL="504000" indent="-252000">
              <a:spcBef>
                <a:spcPts val="600"/>
              </a:spcBef>
              <a:buFont typeface="Symbol" panose="05050102010706020507" pitchFamily="18" charset="2"/>
              <a:buChar char="-"/>
              <a:defRPr sz="1800" b="0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j-lt"/>
              </a:defRPr>
            </a:lvl7pPr>
            <a:lvl8pPr marL="0" indent="0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5473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quiggle">
            <a:extLst>
              <a:ext uri="{FF2B5EF4-FFF2-40B4-BE49-F238E27FC236}">
                <a16:creationId xmlns:a16="http://schemas.microsoft.com/office/drawing/2014/main" id="{E6B056FC-D76E-6EEE-1F46-98B3E85BDD72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5B0DC7E5-022C-E336-ADE4-61DCBE11E4B8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Content Right">
            <a:extLst>
              <a:ext uri="{FF2B5EF4-FFF2-40B4-BE49-F238E27FC236}">
                <a16:creationId xmlns:a16="http://schemas.microsoft.com/office/drawing/2014/main" id="{7C386E73-9374-BBFB-A747-8E349BFAA0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Content Left">
            <a:extLst>
              <a:ext uri="{FF2B5EF4-FFF2-40B4-BE49-F238E27FC236}">
                <a16:creationId xmlns:a16="http://schemas.microsoft.com/office/drawing/2014/main" id="{4A32F4B5-2541-213E-96AA-F00FB8F19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8CB23AF2-DD56-8970-5A18-031902AD91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1362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rk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19152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77000">
                <a:srgbClr val="3A72D2"/>
              </a:gs>
              <a:gs pos="37000">
                <a:schemeClr val="accent1"/>
              </a:gs>
              <a:gs pos="0">
                <a:schemeClr val="accent1">
                  <a:lumMod val="50000"/>
                </a:schemeClr>
              </a:gs>
              <a:gs pos="100000">
                <a:srgbClr val="508CFB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2BCE1666-68F9-B23D-25CA-48CFE4798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2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2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2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2"/>
                </a:solidFill>
                <a:latin typeface="+mn-lt"/>
              </a:defRPr>
            </a:lvl8pPr>
            <a:lvl9pPr algn="ctr">
              <a:defRPr/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791755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C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qiggle">
            <a:extLst>
              <a:ext uri="{FF2B5EF4-FFF2-40B4-BE49-F238E27FC236}">
                <a16:creationId xmlns:a16="http://schemas.microsoft.com/office/drawing/2014/main" id="{7CFE2DE4-C24E-60C5-80CA-985A84B405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8" t="3430" r="5268"/>
          <a:stretch/>
        </p:blipFill>
        <p:spPr>
          <a:xfrm>
            <a:off x="0" y="0"/>
            <a:ext cx="12192001" cy="6197600"/>
          </a:xfrm>
          <a:prstGeom prst="rect">
            <a:avLst/>
          </a:prstGeom>
        </p:spPr>
      </p:pic>
      <p:sp>
        <p:nvSpPr>
          <p:cNvPr id="14" name="Content Right">
            <a:extLst>
              <a:ext uri="{FF2B5EF4-FFF2-40B4-BE49-F238E27FC236}">
                <a16:creationId xmlns:a16="http://schemas.microsoft.com/office/drawing/2014/main" id="{565FE5FD-13AB-AEFA-D1C2-F2E347DD1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2C9CF517-E5B8-36D8-B36C-5B35A7DCAA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C5615C34-CA3E-F307-1218-2A274BDD2A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91847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C">
    <p:bg>
      <p:bgPr>
        <a:gradFill>
          <a:gsLst>
            <a:gs pos="0">
              <a:schemeClr val="accent4"/>
            </a:gs>
            <a:gs pos="100000">
              <a:schemeClr val="accent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quiggle">
            <a:extLst>
              <a:ext uri="{FF2B5EF4-FFF2-40B4-BE49-F238E27FC236}">
                <a16:creationId xmlns:a16="http://schemas.microsoft.com/office/drawing/2014/main" id="{A2CEC2FF-1490-0554-2D76-465A5050BD16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>
            <a:gsLst>
              <a:gs pos="81000">
                <a:schemeClr val="accent4"/>
              </a:gs>
              <a:gs pos="45000">
                <a:schemeClr val="accent5"/>
              </a:gs>
              <a:gs pos="0">
                <a:schemeClr val="accent5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ADA28BE9-F121-8062-CBAD-9A343CD32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6E8E9C7C-A4E7-DBB7-A0F1-558FE349E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59DCE367-7F86-E53B-D18B-45159C29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1645596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CE">
    <p:bg>
      <p:bgPr>
        <a:gradFill>
          <a:gsLst>
            <a:gs pos="100000">
              <a:schemeClr val="accent2"/>
            </a:gs>
            <a:gs pos="1000">
              <a:schemeClr val="accent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iggle">
            <a:extLst>
              <a:ext uri="{FF2B5EF4-FFF2-40B4-BE49-F238E27FC236}">
                <a16:creationId xmlns:a16="http://schemas.microsoft.com/office/drawing/2014/main" id="{06464395-C2C6-ABCC-8A0F-EB434784476E}"/>
              </a:ext>
            </a:extLst>
          </p:cNvPr>
          <p:cNvSpPr/>
          <p:nvPr/>
        </p:nvSpPr>
        <p:spPr>
          <a:xfrm flipH="1">
            <a:off x="0" y="12700"/>
            <a:ext cx="12192000" cy="6845300"/>
          </a:xfrm>
          <a:custGeom>
            <a:avLst/>
            <a:gdLst>
              <a:gd name="connsiteX0" fmla="*/ 6199289 w 12192000"/>
              <a:gd name="connsiteY0" fmla="*/ 0 h 6845300"/>
              <a:gd name="connsiteX1" fmla="*/ 7203731 w 12192000"/>
              <a:gd name="connsiteY1" fmla="*/ 0 h 6845300"/>
              <a:gd name="connsiteX2" fmla="*/ 7359622 w 12192000"/>
              <a:gd name="connsiteY2" fmla="*/ 49453 h 6845300"/>
              <a:gd name="connsiteX3" fmla="*/ 8414960 w 12192000"/>
              <a:gd name="connsiteY3" fmla="*/ 1606495 h 6845300"/>
              <a:gd name="connsiteX4" fmla="*/ 5466469 w 12192000"/>
              <a:gd name="connsiteY4" fmla="*/ 2898099 h 6845300"/>
              <a:gd name="connsiteX5" fmla="*/ 5510206 w 12192000"/>
              <a:gd name="connsiteY5" fmla="*/ 2901236 h 6845300"/>
              <a:gd name="connsiteX6" fmla="*/ 5460194 w 12192000"/>
              <a:gd name="connsiteY6" fmla="*/ 2910257 h 6845300"/>
              <a:gd name="connsiteX7" fmla="*/ 5519365 w 12192000"/>
              <a:gd name="connsiteY7" fmla="*/ 2901893 h 6845300"/>
              <a:gd name="connsiteX8" fmla="*/ 5510206 w 12192000"/>
              <a:gd name="connsiteY8" fmla="*/ 2901236 h 6845300"/>
              <a:gd name="connsiteX9" fmla="*/ 5580191 w 12192000"/>
              <a:gd name="connsiteY9" fmla="*/ 2888612 h 6845300"/>
              <a:gd name="connsiteX10" fmla="*/ 11972077 w 12192000"/>
              <a:gd name="connsiteY10" fmla="*/ 2171553 h 6845300"/>
              <a:gd name="connsiteX11" fmla="*/ 12192000 w 12192000"/>
              <a:gd name="connsiteY11" fmla="*/ 2178484 h 6845300"/>
              <a:gd name="connsiteX12" fmla="*/ 12192000 w 12192000"/>
              <a:gd name="connsiteY12" fmla="*/ 5299398 h 6845300"/>
              <a:gd name="connsiteX13" fmla="*/ 12167811 w 12192000"/>
              <a:gd name="connsiteY13" fmla="*/ 5321244 h 6845300"/>
              <a:gd name="connsiteX14" fmla="*/ 6833810 w 12192000"/>
              <a:gd name="connsiteY14" fmla="*/ 6845245 h 6845300"/>
              <a:gd name="connsiteX15" fmla="*/ 4014410 w 12192000"/>
              <a:gd name="connsiteY15" fmla="*/ 5721294 h 6845300"/>
              <a:gd name="connsiteX16" fmla="*/ 6090862 w 12192000"/>
              <a:gd name="connsiteY16" fmla="*/ 5016445 h 6845300"/>
              <a:gd name="connsiteX17" fmla="*/ 8091111 w 12192000"/>
              <a:gd name="connsiteY17" fmla="*/ 4387794 h 6845300"/>
              <a:gd name="connsiteX18" fmla="*/ 133191 w 12192000"/>
              <a:gd name="connsiteY18" fmla="*/ 5201685 h 6845300"/>
              <a:gd name="connsiteX19" fmla="*/ 0 w 12192000"/>
              <a:gd name="connsiteY19" fmla="*/ 5177688 h 6845300"/>
              <a:gd name="connsiteX20" fmla="*/ 0 w 12192000"/>
              <a:gd name="connsiteY20" fmla="*/ 2436193 h 684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45300">
                <a:moveTo>
                  <a:pt x="6199289" y="0"/>
                </a:moveTo>
                <a:lnTo>
                  <a:pt x="7203731" y="0"/>
                </a:lnTo>
                <a:lnTo>
                  <a:pt x="7359622" y="49453"/>
                </a:lnTo>
                <a:cubicBezTo>
                  <a:pt x="8204617" y="379158"/>
                  <a:pt x="8544341" y="1258039"/>
                  <a:pt x="8414960" y="1606495"/>
                </a:cubicBezTo>
                <a:cubicBezTo>
                  <a:pt x="8247843" y="2056585"/>
                  <a:pt x="5039486" y="2835429"/>
                  <a:pt x="5466469" y="2898099"/>
                </a:cubicBezTo>
                <a:lnTo>
                  <a:pt x="5510206" y="2901236"/>
                </a:lnTo>
                <a:lnTo>
                  <a:pt x="5460194" y="2910257"/>
                </a:lnTo>
                <a:cubicBezTo>
                  <a:pt x="5292756" y="2940883"/>
                  <a:pt x="5292153" y="2943234"/>
                  <a:pt x="5519365" y="2901893"/>
                </a:cubicBezTo>
                <a:lnTo>
                  <a:pt x="5510206" y="2901236"/>
                </a:lnTo>
                <a:lnTo>
                  <a:pt x="5580191" y="2888612"/>
                </a:lnTo>
                <a:cubicBezTo>
                  <a:pt x="6521601" y="2720756"/>
                  <a:pt x="10015123" y="2137155"/>
                  <a:pt x="11972077" y="2171553"/>
                </a:cubicBezTo>
                <a:lnTo>
                  <a:pt x="12192000" y="2178484"/>
                </a:lnTo>
                <a:lnTo>
                  <a:pt x="12192000" y="5299398"/>
                </a:lnTo>
                <a:lnTo>
                  <a:pt x="12167811" y="5321244"/>
                </a:lnTo>
                <a:cubicBezTo>
                  <a:pt x="11357127" y="6035619"/>
                  <a:pt x="8192710" y="6781745"/>
                  <a:pt x="6833810" y="6845245"/>
                </a:cubicBezTo>
                <a:cubicBezTo>
                  <a:pt x="5589211" y="6851595"/>
                  <a:pt x="4014410" y="6315019"/>
                  <a:pt x="4014410" y="5721294"/>
                </a:cubicBezTo>
                <a:cubicBezTo>
                  <a:pt x="4014410" y="5127569"/>
                  <a:pt x="5411411" y="5238695"/>
                  <a:pt x="6090862" y="5016445"/>
                </a:cubicBezTo>
                <a:cubicBezTo>
                  <a:pt x="6770312" y="4794195"/>
                  <a:pt x="9538911" y="4140145"/>
                  <a:pt x="8091111" y="4387794"/>
                </a:cubicBezTo>
                <a:cubicBezTo>
                  <a:pt x="6733800" y="4619965"/>
                  <a:pt x="1980415" y="5478145"/>
                  <a:pt x="133191" y="5201685"/>
                </a:cubicBezTo>
                <a:lnTo>
                  <a:pt x="0" y="5177688"/>
                </a:lnTo>
                <a:lnTo>
                  <a:pt x="0" y="2436193"/>
                </a:lnTo>
                <a:close/>
              </a:path>
            </a:pathLst>
          </a:custGeom>
          <a:gradFill flip="none" rotWithShape="1">
            <a:gsLst>
              <a:gs pos="89000">
                <a:srgbClr val="00B8E1"/>
              </a:gs>
              <a:gs pos="58000">
                <a:srgbClr val="00B9BB"/>
              </a:gs>
              <a:gs pos="13000">
                <a:schemeClr val="accent6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C838D4E0-5FA5-149F-DA63-553729867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D97221C-C54B-48A3-07B5-36612F448B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DE9B26B4-B170-0585-EE3B-86F2524427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4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4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4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4"/>
                </a:solidFill>
                <a:latin typeface="+mn-lt"/>
              </a:defRPr>
            </a:lvl8pPr>
            <a:lvl9pPr algn="ctr"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333181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quiggle">
            <a:extLst>
              <a:ext uri="{FF2B5EF4-FFF2-40B4-BE49-F238E27FC236}">
                <a16:creationId xmlns:a16="http://schemas.microsoft.com/office/drawing/2014/main" id="{1E6DD7F4-E2C2-F58B-157D-CC07C47C23C1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custGeom>
            <a:avLst/>
            <a:gdLst>
              <a:gd name="connsiteX0" fmla="*/ 6714175 w 12191999"/>
              <a:gd name="connsiteY0" fmla="*/ 0 h 6191520"/>
              <a:gd name="connsiteX1" fmla="*/ 8050801 w 12191999"/>
              <a:gd name="connsiteY1" fmla="*/ 0 h 6191520"/>
              <a:gd name="connsiteX2" fmla="*/ 10623550 w 12191999"/>
              <a:gd name="connsiteY2" fmla="*/ 692150 h 6191520"/>
              <a:gd name="connsiteX3" fmla="*/ 11134726 w 12191999"/>
              <a:gd name="connsiteY3" fmla="*/ 876300 h 6191520"/>
              <a:gd name="connsiteX4" fmla="*/ 10858501 w 12191999"/>
              <a:gd name="connsiteY4" fmla="*/ 2076451 h 6191520"/>
              <a:gd name="connsiteX5" fmla="*/ 8181976 w 12191999"/>
              <a:gd name="connsiteY5" fmla="*/ 2343151 h 6191520"/>
              <a:gd name="connsiteX6" fmla="*/ 12039359 w 12191999"/>
              <a:gd name="connsiteY6" fmla="*/ 2642538 h 6191520"/>
              <a:gd name="connsiteX7" fmla="*/ 12191999 w 12191999"/>
              <a:gd name="connsiteY7" fmla="*/ 2680470 h 6191520"/>
              <a:gd name="connsiteX8" fmla="*/ 12191999 w 12191999"/>
              <a:gd name="connsiteY8" fmla="*/ 4461251 h 6191520"/>
              <a:gd name="connsiteX9" fmla="*/ 12029198 w 12191999"/>
              <a:gd name="connsiteY9" fmla="*/ 4498611 h 6191520"/>
              <a:gd name="connsiteX10" fmla="*/ 3400734 w 12191999"/>
              <a:gd name="connsiteY10" fmla="*/ 4691832 h 6191520"/>
              <a:gd name="connsiteX11" fmla="*/ 10825317 w 12191999"/>
              <a:gd name="connsiteY11" fmla="*/ 4906297 h 6191520"/>
              <a:gd name="connsiteX12" fmla="*/ 10753725 w 12191999"/>
              <a:gd name="connsiteY12" fmla="*/ 6188486 h 6191520"/>
              <a:gd name="connsiteX13" fmla="*/ 483866 w 12191999"/>
              <a:gd name="connsiteY13" fmla="*/ 5753127 h 6191520"/>
              <a:gd name="connsiteX14" fmla="*/ 0 w 12191999"/>
              <a:gd name="connsiteY14" fmla="*/ 5700385 h 6191520"/>
              <a:gd name="connsiteX15" fmla="*/ 0 w 12191999"/>
              <a:gd name="connsiteY15" fmla="*/ 3731019 h 6191520"/>
              <a:gd name="connsiteX16" fmla="*/ 92261 w 12191999"/>
              <a:gd name="connsiteY16" fmla="*/ 3708145 h 6191520"/>
              <a:gd name="connsiteX17" fmla="*/ 1002891 w 12191999"/>
              <a:gd name="connsiteY17" fmla="*/ 3618271 h 6191520"/>
              <a:gd name="connsiteX18" fmla="*/ 25475 w 12191999"/>
              <a:gd name="connsiteY18" fmla="*/ 3349301 h 6191520"/>
              <a:gd name="connsiteX19" fmla="*/ 0 w 12191999"/>
              <a:gd name="connsiteY19" fmla="*/ 3338246 h 6191520"/>
              <a:gd name="connsiteX20" fmla="*/ 0 w 12191999"/>
              <a:gd name="connsiteY20" fmla="*/ 2172532 h 6191520"/>
              <a:gd name="connsiteX21" fmla="*/ 31629 w 12191999"/>
              <a:gd name="connsiteY21" fmla="*/ 2142588 h 6191520"/>
              <a:gd name="connsiteX22" fmla="*/ 7181852 w 12191999"/>
              <a:gd name="connsiteY22" fmla="*/ 1143000 h 6191520"/>
              <a:gd name="connsiteX23" fmla="*/ 6684468 w 12191999"/>
              <a:gd name="connsiteY23" fmla="*/ 45095 h 619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9" h="6191520">
                <a:moveTo>
                  <a:pt x="6714175" y="0"/>
                </a:moveTo>
                <a:lnTo>
                  <a:pt x="8050801" y="0"/>
                </a:lnTo>
                <a:lnTo>
                  <a:pt x="10623550" y="692150"/>
                </a:lnTo>
                <a:cubicBezTo>
                  <a:pt x="10793942" y="753533"/>
                  <a:pt x="10856384" y="764117"/>
                  <a:pt x="11134726" y="876300"/>
                </a:cubicBezTo>
                <a:cubicBezTo>
                  <a:pt x="11772901" y="1309688"/>
                  <a:pt x="11091478" y="2063050"/>
                  <a:pt x="10858501" y="2076451"/>
                </a:cubicBezTo>
                <a:cubicBezTo>
                  <a:pt x="10637716" y="2089151"/>
                  <a:pt x="9112251" y="2251076"/>
                  <a:pt x="8181976" y="2343151"/>
                </a:cubicBezTo>
                <a:cubicBezTo>
                  <a:pt x="9457135" y="2448720"/>
                  <a:pt x="10834391" y="2371974"/>
                  <a:pt x="12039359" y="2642538"/>
                </a:cubicBezTo>
                <a:lnTo>
                  <a:pt x="12191999" y="2680470"/>
                </a:lnTo>
                <a:lnTo>
                  <a:pt x="12191999" y="4461251"/>
                </a:lnTo>
                <a:lnTo>
                  <a:pt x="12029198" y="4498611"/>
                </a:lnTo>
                <a:cubicBezTo>
                  <a:pt x="10052580" y="4896281"/>
                  <a:pt x="3595103" y="4625802"/>
                  <a:pt x="3400734" y="4691832"/>
                </a:cubicBezTo>
                <a:cubicBezTo>
                  <a:pt x="3200095" y="4759992"/>
                  <a:pt x="9835794" y="4794506"/>
                  <a:pt x="10825317" y="4906297"/>
                </a:cubicBezTo>
                <a:cubicBezTo>
                  <a:pt x="11814840" y="5018088"/>
                  <a:pt x="11251074" y="6260794"/>
                  <a:pt x="10753725" y="6188486"/>
                </a:cubicBezTo>
                <a:cubicBezTo>
                  <a:pt x="8313425" y="6094676"/>
                  <a:pt x="4231215" y="6130491"/>
                  <a:pt x="483866" y="5753127"/>
                </a:cubicBezTo>
                <a:lnTo>
                  <a:pt x="0" y="5700385"/>
                </a:lnTo>
                <a:lnTo>
                  <a:pt x="0" y="3731019"/>
                </a:lnTo>
                <a:lnTo>
                  <a:pt x="92261" y="3708145"/>
                </a:lnTo>
                <a:cubicBezTo>
                  <a:pt x="430911" y="3635859"/>
                  <a:pt x="902136" y="3639908"/>
                  <a:pt x="1002891" y="3618271"/>
                </a:cubicBezTo>
                <a:cubicBezTo>
                  <a:pt x="992048" y="3621510"/>
                  <a:pt x="391872" y="3496392"/>
                  <a:pt x="25475" y="3349301"/>
                </a:cubicBezTo>
                <a:lnTo>
                  <a:pt x="0" y="3338246"/>
                </a:lnTo>
                <a:lnTo>
                  <a:pt x="0" y="2172532"/>
                </a:lnTo>
                <a:lnTo>
                  <a:pt x="31629" y="2142588"/>
                </a:lnTo>
                <a:cubicBezTo>
                  <a:pt x="905081" y="1446802"/>
                  <a:pt x="4950569" y="1355124"/>
                  <a:pt x="7181852" y="1143000"/>
                </a:cubicBezTo>
                <a:cubicBezTo>
                  <a:pt x="6322221" y="1016794"/>
                  <a:pt x="6432353" y="456605"/>
                  <a:pt x="6684468" y="45095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2"/>
              </a:gs>
              <a:gs pos="37000">
                <a:schemeClr val="accent3"/>
              </a:gs>
              <a:gs pos="0">
                <a:schemeClr val="accent3">
                  <a:lumMod val="5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91FED144-706E-40BF-05AD-D824465899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0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ontent Right">
            <a:extLst>
              <a:ext uri="{FF2B5EF4-FFF2-40B4-BE49-F238E27FC236}">
                <a16:creationId xmlns:a16="http://schemas.microsoft.com/office/drawing/2014/main" id="{47D136EB-E265-B02D-31FA-D2556BEE9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5200" y="4497021"/>
            <a:ext cx="3860800" cy="1466293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600"/>
              </a:spcBef>
              <a:spcAft>
                <a:spcPts val="200"/>
              </a:spcAft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plus Content">
            <a:extLst>
              <a:ext uri="{FF2B5EF4-FFF2-40B4-BE49-F238E27FC236}">
                <a16:creationId xmlns:a16="http://schemas.microsoft.com/office/drawing/2014/main" id="{4B1FFFD7-DD5D-2FB2-1E99-087C94150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6000" y="2662992"/>
            <a:ext cx="8639999" cy="1321965"/>
          </a:xfrm>
        </p:spPr>
        <p:txBody>
          <a:bodyPr anchor="ctr">
            <a:spAutoFit/>
          </a:bodyPr>
          <a:lstStyle>
            <a:lvl1pPr algn="ctr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defRPr sz="8800">
                <a:solidFill>
                  <a:schemeClr val="tx1"/>
                </a:solidFill>
                <a:latin typeface="+mj-lt"/>
              </a:defRPr>
            </a:lvl1pPr>
            <a:lvl2pPr marL="0" indent="0" algn="ctr">
              <a:lnSpc>
                <a:spcPct val="105000"/>
              </a:lnSpc>
              <a:buFontTx/>
              <a:buNone/>
              <a:defRPr sz="8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spcBef>
                <a:spcPts val="1200"/>
              </a:spcBef>
              <a:spcAft>
                <a:spcPts val="0"/>
              </a:spcAft>
              <a:buFontTx/>
              <a:buNone/>
              <a:defRPr sz="4600">
                <a:solidFill>
                  <a:schemeClr val="tx1"/>
                </a:solidFill>
                <a:latin typeface="+mj-lt"/>
              </a:defRPr>
            </a:lvl3pPr>
            <a:lvl4pPr marL="0" indent="0" algn="ctr">
              <a:spcBef>
                <a:spcPts val="1200"/>
              </a:spcBef>
              <a:buClr>
                <a:schemeClr val="tx2"/>
              </a:buClr>
              <a:buFontTx/>
              <a:buNone/>
              <a:defRPr sz="4600">
                <a:solidFill>
                  <a:schemeClr val="accent1"/>
                </a:solidFill>
                <a:latin typeface="+mj-lt"/>
              </a:defRPr>
            </a:lvl4pPr>
            <a:lvl5pPr marL="0" indent="0" algn="l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1200"/>
              </a:spcBef>
              <a:spcAft>
                <a:spcPts val="0"/>
              </a:spcAft>
              <a:buFontTx/>
              <a:buNone/>
              <a:defRPr sz="1800" b="0" baseline="0">
                <a:solidFill>
                  <a:schemeClr val="accent1"/>
                </a:solidFill>
                <a:latin typeface="+mn-lt"/>
              </a:defRPr>
            </a:lvl6pPr>
            <a:lvl7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1200"/>
              </a:spcBef>
              <a:buFontTx/>
              <a:buNone/>
              <a:defRPr sz="1800">
                <a:solidFill>
                  <a:schemeClr val="accent1"/>
                </a:solidFill>
                <a:latin typeface="+mn-lt"/>
              </a:defRPr>
            </a:lvl8pPr>
            <a:lvl9pPr algn="ctr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Headline/Quote</a:t>
            </a:r>
          </a:p>
        </p:txBody>
      </p:sp>
    </p:spTree>
    <p:extLst>
      <p:ext uri="{BB962C8B-B14F-4D97-AF65-F5344CB8AC3E}">
        <p14:creationId xmlns:p14="http://schemas.microsoft.com/office/powerpoint/2010/main" val="69560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7763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 Blue">
    <p:bg>
      <p:bgPr>
        <a:solidFill>
          <a:srgbClr val="ED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382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:a16="http://schemas.microsoft.com/office/drawing/2014/main" id="{14714A40-A869-BCD1-091E-69FC8C5C546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GB" sz="9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GB" sz="900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51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C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D45725-0FF6-4B65-0D2B-7A5FCDC3F3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Orange Block">
            <a:extLst>
              <a:ext uri="{FF2B5EF4-FFF2-40B4-BE49-F238E27FC236}">
                <a16:creationId xmlns:a16="http://schemas.microsoft.com/office/drawing/2014/main" id="{DB0B598B-C9D6-DAE8-E909-26110C40CEA7}"/>
              </a:ext>
            </a:extLst>
          </p:cNvPr>
          <p:cNvSpPr/>
          <p:nvPr/>
        </p:nvSpPr>
        <p:spPr bwMode="white">
          <a:xfrm>
            <a:off x="0" y="-1"/>
            <a:ext cx="4876800" cy="4680000"/>
          </a:xfrm>
          <a:prstGeom prst="rect">
            <a:avLst/>
          </a:prstGeom>
          <a:gradFill>
            <a:gsLst>
              <a:gs pos="35000">
                <a:srgbClr val="E65A03"/>
              </a:gs>
              <a:gs pos="100000">
                <a:srgbClr val="F07900"/>
              </a:gs>
              <a:gs pos="0">
                <a:srgbClr val="E55703"/>
              </a:gs>
            </a:gsLst>
            <a:lin ang="189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 2">
            <a:extLst>
              <a:ext uri="{FF2B5EF4-FFF2-40B4-BE49-F238E27FC236}">
                <a16:creationId xmlns:a16="http://schemas.microsoft.com/office/drawing/2014/main" id="{4F9839D8-DD34-BF32-8C9A-D4A351E9EF3D}"/>
              </a:ext>
            </a:extLst>
          </p:cNvPr>
          <p:cNvSpPr/>
          <p:nvPr/>
        </p:nvSpPr>
        <p:spPr>
          <a:xfrm>
            <a:off x="406400" y="1949493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E86301"/>
              </a:gs>
              <a:gs pos="35000">
                <a:srgbClr val="E86101"/>
              </a:gs>
              <a:gs pos="100000">
                <a:srgbClr val="E86101"/>
              </a:gs>
              <a:gs pos="0">
                <a:srgbClr val="E862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Squiggle 1">
            <a:extLst>
              <a:ext uri="{FF2B5EF4-FFF2-40B4-BE49-F238E27FC236}">
                <a16:creationId xmlns:a16="http://schemas.microsoft.com/office/drawing/2014/main" id="{C37ACE55-304C-EC98-D7F7-78C4D2DAA204}"/>
              </a:ext>
            </a:extLst>
          </p:cNvPr>
          <p:cNvSpPr/>
          <p:nvPr/>
        </p:nvSpPr>
        <p:spPr>
          <a:xfrm>
            <a:off x="12700" y="12700"/>
            <a:ext cx="3143251" cy="40767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0000">
                <a:srgbClr val="EB6A01"/>
              </a:gs>
              <a:gs pos="35000">
                <a:srgbClr val="EA6801"/>
              </a:gs>
              <a:gs pos="100000">
                <a:srgbClr val="EB6A01"/>
              </a:gs>
              <a:gs pos="0">
                <a:srgbClr val="EB6A01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1114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quiggle">
            <a:extLst>
              <a:ext uri="{FF2B5EF4-FFF2-40B4-BE49-F238E27FC236}">
                <a16:creationId xmlns:a16="http://schemas.microsoft.com/office/drawing/2014/main" id="{5E6E4728-D40D-35DA-66B0-22FC4E6E8CDE}"/>
              </a:ext>
            </a:extLst>
          </p:cNvPr>
          <p:cNvSpPr/>
          <p:nvPr/>
        </p:nvSpPr>
        <p:spPr>
          <a:xfrm rot="4430537">
            <a:off x="2406828" y="-2403022"/>
            <a:ext cx="7944708" cy="13618868"/>
          </a:xfrm>
          <a:custGeom>
            <a:avLst/>
            <a:gdLst>
              <a:gd name="connsiteX0" fmla="*/ 0 w 7944708"/>
              <a:gd name="connsiteY0" fmla="*/ 4685805 h 13618868"/>
              <a:gd name="connsiteX1" fmla="*/ 1357604 w 7944708"/>
              <a:gd name="connsiteY1" fmla="*/ 0 h 13618868"/>
              <a:gd name="connsiteX2" fmla="*/ 4049990 w 7944708"/>
              <a:gd name="connsiteY2" fmla="*/ 780056 h 13618868"/>
              <a:gd name="connsiteX3" fmla="*/ 4162100 w 7944708"/>
              <a:gd name="connsiteY3" fmla="*/ 1058737 h 13618868"/>
              <a:gd name="connsiteX4" fmla="*/ 6321097 w 7944708"/>
              <a:gd name="connsiteY4" fmla="*/ 5355046 h 13618868"/>
              <a:gd name="connsiteX5" fmla="*/ 5623247 w 7944708"/>
              <a:gd name="connsiteY5" fmla="*/ 1545335 h 13618868"/>
              <a:gd name="connsiteX6" fmla="*/ 5602778 w 7944708"/>
              <a:gd name="connsiteY6" fmla="*/ 1229940 h 13618868"/>
              <a:gd name="connsiteX7" fmla="*/ 7944708 w 7944708"/>
              <a:gd name="connsiteY7" fmla="*/ 1908460 h 13618868"/>
              <a:gd name="connsiteX8" fmla="*/ 5453795 w 7944708"/>
              <a:gd name="connsiteY8" fmla="*/ 10505918 h 13618868"/>
              <a:gd name="connsiteX9" fmla="*/ 5088659 w 7944708"/>
              <a:gd name="connsiteY9" fmla="*/ 9925772 h 13618868"/>
              <a:gd name="connsiteX10" fmla="*/ 2348310 w 7944708"/>
              <a:gd name="connsiteY10" fmla="*/ 4969698 h 13618868"/>
              <a:gd name="connsiteX11" fmla="*/ 4916023 w 7944708"/>
              <a:gd name="connsiteY11" fmla="*/ 12050905 h 13618868"/>
              <a:gd name="connsiteX12" fmla="*/ 4969351 w 7944708"/>
              <a:gd name="connsiteY12" fmla="*/ 12177989 h 13618868"/>
              <a:gd name="connsiteX13" fmla="*/ 4551890 w 7944708"/>
              <a:gd name="connsiteY13" fmla="*/ 13618868 h 13618868"/>
              <a:gd name="connsiteX14" fmla="*/ 2127054 w 7944708"/>
              <a:gd name="connsiteY14" fmla="*/ 12916328 h 13618868"/>
              <a:gd name="connsiteX15" fmla="*/ 2070213 w 7944708"/>
              <a:gd name="connsiteY15" fmla="*/ 12724059 h 13618868"/>
              <a:gd name="connsiteX16" fmla="*/ 7671 w 7944708"/>
              <a:gd name="connsiteY16" fmla="*/ 4718907 h 1361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44708" h="13618868">
                <a:moveTo>
                  <a:pt x="0" y="4685805"/>
                </a:moveTo>
                <a:lnTo>
                  <a:pt x="1357604" y="0"/>
                </a:lnTo>
                <a:lnTo>
                  <a:pt x="4049990" y="780056"/>
                </a:lnTo>
                <a:lnTo>
                  <a:pt x="4162100" y="1058737"/>
                </a:lnTo>
                <a:cubicBezTo>
                  <a:pt x="4806345" y="2617724"/>
                  <a:pt x="5521223" y="4153526"/>
                  <a:pt x="6321097" y="5355046"/>
                </a:cubicBezTo>
                <a:cubicBezTo>
                  <a:pt x="6072429" y="4057350"/>
                  <a:pt x="5720718" y="2665455"/>
                  <a:pt x="5623247" y="1545335"/>
                </a:cubicBezTo>
                <a:lnTo>
                  <a:pt x="5602778" y="1229940"/>
                </a:lnTo>
                <a:lnTo>
                  <a:pt x="7944708" y="1908460"/>
                </a:lnTo>
                <a:lnTo>
                  <a:pt x="5453795" y="10505918"/>
                </a:lnTo>
                <a:lnTo>
                  <a:pt x="5088659" y="9925772"/>
                </a:lnTo>
                <a:cubicBezTo>
                  <a:pt x="4087604" y="8295081"/>
                  <a:pt x="3029733" y="6270664"/>
                  <a:pt x="2348310" y="4969698"/>
                </a:cubicBezTo>
                <a:cubicBezTo>
                  <a:pt x="2113685" y="4521756"/>
                  <a:pt x="3783862" y="9322882"/>
                  <a:pt x="4916023" y="12050905"/>
                </a:cubicBezTo>
                <a:lnTo>
                  <a:pt x="4969351" y="12177989"/>
                </a:lnTo>
                <a:lnTo>
                  <a:pt x="4551890" y="13618868"/>
                </a:lnTo>
                <a:lnTo>
                  <a:pt x="2127054" y="12916328"/>
                </a:lnTo>
                <a:lnTo>
                  <a:pt x="2070213" y="12724059"/>
                </a:lnTo>
                <a:cubicBezTo>
                  <a:pt x="1303556" y="10084950"/>
                  <a:pt x="552023" y="7053271"/>
                  <a:pt x="7671" y="4718907"/>
                </a:cubicBezTo>
                <a:close/>
              </a:path>
            </a:pathLst>
          </a:custGeom>
          <a:gradFill>
            <a:gsLst>
              <a:gs pos="0">
                <a:srgbClr val="00316C"/>
              </a:gs>
              <a:gs pos="15000">
                <a:srgbClr val="01326E"/>
              </a:gs>
              <a:gs pos="30000">
                <a:srgbClr val="063878"/>
              </a:gs>
              <a:gs pos="78000">
                <a:srgbClr val="0F4287"/>
              </a:gs>
            </a:gsLst>
            <a:lin ang="15000009" scaled="1"/>
          </a:gradFill>
          <a:ln w="151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C1A5A066-7C32-E9BB-5006-1E1E179DF5DD}"/>
              </a:ext>
            </a:extLst>
          </p:cNvPr>
          <p:cNvSpPr/>
          <p:nvPr/>
        </p:nvSpPr>
        <p:spPr bwMode="black">
          <a:xfrm>
            <a:off x="4368800" y="2961927"/>
            <a:ext cx="3454400" cy="934146"/>
          </a:xfrm>
          <a:custGeom>
            <a:avLst/>
            <a:gdLst>
              <a:gd name="connsiteX0" fmla="*/ 6897053 w 7750397"/>
              <a:gd name="connsiteY0" fmla="*/ 282131 h 2095880"/>
              <a:gd name="connsiteX1" fmla="*/ 6921151 w 7750397"/>
              <a:gd name="connsiteY1" fmla="*/ 306229 h 2095880"/>
              <a:gd name="connsiteX2" fmla="*/ 6921151 w 7750397"/>
              <a:gd name="connsiteY2" fmla="*/ 709708 h 2095880"/>
              <a:gd name="connsiteX3" fmla="*/ 6897053 w 7750397"/>
              <a:gd name="connsiteY3" fmla="*/ 733806 h 2095880"/>
              <a:gd name="connsiteX4" fmla="*/ 6493574 w 7750397"/>
              <a:gd name="connsiteY4" fmla="*/ 733806 h 2095880"/>
              <a:gd name="connsiteX5" fmla="*/ 6469475 w 7750397"/>
              <a:gd name="connsiteY5" fmla="*/ 709708 h 2095880"/>
              <a:gd name="connsiteX6" fmla="*/ 6469475 w 7750397"/>
              <a:gd name="connsiteY6" fmla="*/ 306229 h 2095880"/>
              <a:gd name="connsiteX7" fmla="*/ 6493574 w 7750397"/>
              <a:gd name="connsiteY7" fmla="*/ 282131 h 2095880"/>
              <a:gd name="connsiteX8" fmla="*/ 6897053 w 7750397"/>
              <a:gd name="connsiteY8" fmla="*/ 282131 h 2095880"/>
              <a:gd name="connsiteX9" fmla="*/ 7040594 w 7750397"/>
              <a:gd name="connsiteY9" fmla="*/ 829342 h 2095880"/>
              <a:gd name="connsiteX10" fmla="*/ 7016497 w 7750397"/>
              <a:gd name="connsiteY10" fmla="*/ 853345 h 2095880"/>
              <a:gd name="connsiteX11" fmla="*/ 7016497 w 7750397"/>
              <a:gd name="connsiteY11" fmla="*/ 1256919 h 2095880"/>
              <a:gd name="connsiteX12" fmla="*/ 7040594 w 7750397"/>
              <a:gd name="connsiteY12" fmla="*/ 1281017 h 2095880"/>
              <a:gd name="connsiteX13" fmla="*/ 7444073 w 7750397"/>
              <a:gd name="connsiteY13" fmla="*/ 1281017 h 2095880"/>
              <a:gd name="connsiteX14" fmla="*/ 7468077 w 7750397"/>
              <a:gd name="connsiteY14" fmla="*/ 1256919 h 2095880"/>
              <a:gd name="connsiteX15" fmla="*/ 7468077 w 7750397"/>
              <a:gd name="connsiteY15" fmla="*/ 853345 h 2095880"/>
              <a:gd name="connsiteX16" fmla="*/ 7444073 w 7750397"/>
              <a:gd name="connsiteY16" fmla="*/ 829342 h 2095880"/>
              <a:gd name="connsiteX17" fmla="*/ 7040594 w 7750397"/>
              <a:gd name="connsiteY17" fmla="*/ 829342 h 2095880"/>
              <a:gd name="connsiteX18" fmla="*/ 7750398 w 7750397"/>
              <a:gd name="connsiteY18" fmla="*/ 366998 h 2095880"/>
              <a:gd name="connsiteX19" fmla="*/ 7383304 w 7750397"/>
              <a:gd name="connsiteY19" fmla="*/ 0 h 2095880"/>
              <a:gd name="connsiteX20" fmla="*/ 7040309 w 7750397"/>
              <a:gd name="connsiteY20" fmla="*/ 0 h 2095880"/>
              <a:gd name="connsiteX21" fmla="*/ 7016211 w 7750397"/>
              <a:gd name="connsiteY21" fmla="*/ 24098 h 2095880"/>
              <a:gd name="connsiteX22" fmla="*/ 7016401 w 7750397"/>
              <a:gd name="connsiteY22" fmla="*/ 709708 h 2095880"/>
              <a:gd name="connsiteX23" fmla="*/ 7040499 w 7750397"/>
              <a:gd name="connsiteY23" fmla="*/ 733806 h 2095880"/>
              <a:gd name="connsiteX24" fmla="*/ 7726299 w 7750397"/>
              <a:gd name="connsiteY24" fmla="*/ 733806 h 2095880"/>
              <a:gd name="connsiteX25" fmla="*/ 7750398 w 7750397"/>
              <a:gd name="connsiteY25" fmla="*/ 709708 h 2095880"/>
              <a:gd name="connsiteX26" fmla="*/ 7750398 w 7750397"/>
              <a:gd name="connsiteY26" fmla="*/ 366998 h 2095880"/>
              <a:gd name="connsiteX27" fmla="*/ 6719602 w 7750397"/>
              <a:gd name="connsiteY27" fmla="*/ 829437 h 2095880"/>
              <a:gd name="connsiteX28" fmla="*/ 6695599 w 7750397"/>
              <a:gd name="connsiteY28" fmla="*/ 853440 h 2095880"/>
              <a:gd name="connsiteX29" fmla="*/ 6695599 w 7750397"/>
              <a:gd name="connsiteY29" fmla="*/ 1031177 h 2095880"/>
              <a:gd name="connsiteX30" fmla="*/ 6719602 w 7750397"/>
              <a:gd name="connsiteY30" fmla="*/ 1055275 h 2095880"/>
              <a:gd name="connsiteX31" fmla="*/ 6896957 w 7750397"/>
              <a:gd name="connsiteY31" fmla="*/ 1055275 h 2095880"/>
              <a:gd name="connsiteX32" fmla="*/ 6921056 w 7750397"/>
              <a:gd name="connsiteY32" fmla="*/ 1031272 h 2095880"/>
              <a:gd name="connsiteX33" fmla="*/ 6921056 w 7750397"/>
              <a:gd name="connsiteY33" fmla="*/ 853440 h 2095880"/>
              <a:gd name="connsiteX34" fmla="*/ 6896957 w 7750397"/>
              <a:gd name="connsiteY34" fmla="*/ 829437 h 2095880"/>
              <a:gd name="connsiteX35" fmla="*/ 6719602 w 7750397"/>
              <a:gd name="connsiteY35" fmla="*/ 829437 h 2095880"/>
              <a:gd name="connsiteX36" fmla="*/ 1851660 w 7750397"/>
              <a:gd name="connsiteY36" fmla="*/ 1069181 h 2095880"/>
              <a:gd name="connsiteX37" fmla="*/ 1712595 w 7750397"/>
              <a:gd name="connsiteY37" fmla="*/ 1099566 h 2095880"/>
              <a:gd name="connsiteX38" fmla="*/ 1599057 w 7750397"/>
              <a:gd name="connsiteY38" fmla="*/ 1194721 h 2095880"/>
              <a:gd name="connsiteX39" fmla="*/ 1508189 w 7750397"/>
              <a:gd name="connsiteY39" fmla="*/ 1100233 h 2095880"/>
              <a:gd name="connsiteX40" fmla="*/ 1387126 w 7750397"/>
              <a:gd name="connsiteY40" fmla="*/ 1070515 h 2095880"/>
              <a:gd name="connsiteX41" fmla="*/ 1251299 w 7750397"/>
              <a:gd name="connsiteY41" fmla="*/ 1100900 h 2095880"/>
              <a:gd name="connsiteX42" fmla="*/ 1145000 w 7750397"/>
              <a:gd name="connsiteY42" fmla="*/ 1194816 h 2095880"/>
              <a:gd name="connsiteX43" fmla="*/ 1145000 w 7750397"/>
              <a:gd name="connsiteY43" fmla="*/ 1089755 h 2095880"/>
              <a:gd name="connsiteX44" fmla="*/ 887159 w 7750397"/>
              <a:gd name="connsiteY44" fmla="*/ 1089755 h 2095880"/>
              <a:gd name="connsiteX45" fmla="*/ 887159 w 7750397"/>
              <a:gd name="connsiteY45" fmla="*/ 1808512 h 2095880"/>
              <a:gd name="connsiteX46" fmla="*/ 1166717 w 7750397"/>
              <a:gd name="connsiteY46" fmla="*/ 1808512 h 2095880"/>
              <a:gd name="connsiteX47" fmla="*/ 1166717 w 7750397"/>
              <a:gd name="connsiteY47" fmla="*/ 1422368 h 2095880"/>
              <a:gd name="connsiteX48" fmla="*/ 1191292 w 7750397"/>
              <a:gd name="connsiteY48" fmla="*/ 1327785 h 2095880"/>
              <a:gd name="connsiteX49" fmla="*/ 1263110 w 7750397"/>
              <a:gd name="connsiteY49" fmla="*/ 1295400 h 2095880"/>
              <a:gd name="connsiteX50" fmla="*/ 1339501 w 7750397"/>
              <a:gd name="connsiteY50" fmla="*/ 1327499 h 2095880"/>
              <a:gd name="connsiteX51" fmla="*/ 1362837 w 7750397"/>
              <a:gd name="connsiteY51" fmla="*/ 1433608 h 2095880"/>
              <a:gd name="connsiteX52" fmla="*/ 1362837 w 7750397"/>
              <a:gd name="connsiteY52" fmla="*/ 1808512 h 2095880"/>
              <a:gd name="connsiteX53" fmla="*/ 1641062 w 7750397"/>
              <a:gd name="connsiteY53" fmla="*/ 1808512 h 2095880"/>
              <a:gd name="connsiteX54" fmla="*/ 1641062 w 7750397"/>
              <a:gd name="connsiteY54" fmla="*/ 1426369 h 2095880"/>
              <a:gd name="connsiteX55" fmla="*/ 1665351 w 7750397"/>
              <a:gd name="connsiteY55" fmla="*/ 1327214 h 2095880"/>
              <a:gd name="connsiteX56" fmla="*/ 1741456 w 7750397"/>
              <a:gd name="connsiteY56" fmla="*/ 1295400 h 2095880"/>
              <a:gd name="connsiteX57" fmla="*/ 1814608 w 7750397"/>
              <a:gd name="connsiteY57" fmla="*/ 1325880 h 2095880"/>
              <a:gd name="connsiteX58" fmla="*/ 1837277 w 7750397"/>
              <a:gd name="connsiteY58" fmla="*/ 1423702 h 2095880"/>
              <a:gd name="connsiteX59" fmla="*/ 1837277 w 7750397"/>
              <a:gd name="connsiteY59" fmla="*/ 1808512 h 2095880"/>
              <a:gd name="connsiteX60" fmla="*/ 2116741 w 7750397"/>
              <a:gd name="connsiteY60" fmla="*/ 1808512 h 2095880"/>
              <a:gd name="connsiteX61" fmla="*/ 2116741 w 7750397"/>
              <a:gd name="connsiteY61" fmla="*/ 1318546 h 2095880"/>
              <a:gd name="connsiteX62" fmla="*/ 2047208 w 7750397"/>
              <a:gd name="connsiteY62" fmla="*/ 1134713 h 2095880"/>
              <a:gd name="connsiteX63" fmla="*/ 1851660 w 7750397"/>
              <a:gd name="connsiteY63" fmla="*/ 1069277 h 2095880"/>
              <a:gd name="connsiteX64" fmla="*/ 411575 w 7750397"/>
              <a:gd name="connsiteY64" fmla="*/ 1066324 h 2095880"/>
              <a:gd name="connsiteX65" fmla="*/ 0 w 7750397"/>
              <a:gd name="connsiteY65" fmla="*/ 1456277 h 2095880"/>
              <a:gd name="connsiteX66" fmla="*/ 400717 w 7750397"/>
              <a:gd name="connsiteY66" fmla="*/ 1834134 h 2095880"/>
              <a:gd name="connsiteX67" fmla="*/ 796100 w 7750397"/>
              <a:gd name="connsiteY67" fmla="*/ 1596676 h 2095880"/>
              <a:gd name="connsiteX68" fmla="*/ 523494 w 7750397"/>
              <a:gd name="connsiteY68" fmla="*/ 1596676 h 2095880"/>
              <a:gd name="connsiteX69" fmla="*/ 416814 w 7750397"/>
              <a:gd name="connsiteY69" fmla="*/ 1656112 h 2095880"/>
              <a:gd name="connsiteX70" fmla="*/ 284607 w 7750397"/>
              <a:gd name="connsiteY70" fmla="*/ 1513046 h 2095880"/>
              <a:gd name="connsiteX71" fmla="*/ 818959 w 7750397"/>
              <a:gd name="connsiteY71" fmla="*/ 1513046 h 2095880"/>
              <a:gd name="connsiteX72" fmla="*/ 818959 w 7750397"/>
              <a:gd name="connsiteY72" fmla="*/ 1495520 h 2095880"/>
              <a:gd name="connsiteX73" fmla="*/ 411385 w 7750397"/>
              <a:gd name="connsiteY73" fmla="*/ 1066419 h 2095880"/>
              <a:gd name="connsiteX74" fmla="*/ 284797 w 7750397"/>
              <a:gd name="connsiteY74" fmla="*/ 1369885 h 2095880"/>
              <a:gd name="connsiteX75" fmla="*/ 408908 w 7750397"/>
              <a:gd name="connsiteY75" fmla="*/ 1236250 h 2095880"/>
              <a:gd name="connsiteX76" fmla="*/ 538448 w 7750397"/>
              <a:gd name="connsiteY76" fmla="*/ 1369885 h 2095880"/>
              <a:gd name="connsiteX77" fmla="*/ 284797 w 7750397"/>
              <a:gd name="connsiteY77" fmla="*/ 1369885 h 2095880"/>
              <a:gd name="connsiteX78" fmla="*/ 2702052 w 7750397"/>
              <a:gd name="connsiteY78" fmla="*/ 1072991 h 2095880"/>
              <a:gd name="connsiteX79" fmla="*/ 2470023 w 7750397"/>
              <a:gd name="connsiteY79" fmla="*/ 1183672 h 2095880"/>
              <a:gd name="connsiteX80" fmla="*/ 2470023 w 7750397"/>
              <a:gd name="connsiteY80" fmla="*/ 1091851 h 2095880"/>
              <a:gd name="connsiteX81" fmla="*/ 2217706 w 7750397"/>
              <a:gd name="connsiteY81" fmla="*/ 1091851 h 2095880"/>
              <a:gd name="connsiteX82" fmla="*/ 2217706 w 7750397"/>
              <a:gd name="connsiteY82" fmla="*/ 2095881 h 2095880"/>
              <a:gd name="connsiteX83" fmla="*/ 2494312 w 7750397"/>
              <a:gd name="connsiteY83" fmla="*/ 2095881 h 2095880"/>
              <a:gd name="connsiteX84" fmla="*/ 2494312 w 7750397"/>
              <a:gd name="connsiteY84" fmla="*/ 1740980 h 2095880"/>
              <a:gd name="connsiteX85" fmla="*/ 2696718 w 7750397"/>
              <a:gd name="connsiteY85" fmla="*/ 1832705 h 2095880"/>
              <a:gd name="connsiteX86" fmla="*/ 3013901 w 7750397"/>
              <a:gd name="connsiteY86" fmla="*/ 1452182 h 2095880"/>
              <a:gd name="connsiteX87" fmla="*/ 2702147 w 7750397"/>
              <a:gd name="connsiteY87" fmla="*/ 1072991 h 2095880"/>
              <a:gd name="connsiteX88" fmla="*/ 2611660 w 7750397"/>
              <a:gd name="connsiteY88" fmla="*/ 1614202 h 2095880"/>
              <a:gd name="connsiteX89" fmla="*/ 2494312 w 7750397"/>
              <a:gd name="connsiteY89" fmla="*/ 1452182 h 2095880"/>
              <a:gd name="connsiteX90" fmla="*/ 2614422 w 7750397"/>
              <a:gd name="connsiteY90" fmla="*/ 1286161 h 2095880"/>
              <a:gd name="connsiteX91" fmla="*/ 2729103 w 7750397"/>
              <a:gd name="connsiteY91" fmla="*/ 1452182 h 2095880"/>
              <a:gd name="connsiteX92" fmla="*/ 2611660 w 7750397"/>
              <a:gd name="connsiteY92" fmla="*/ 1614202 h 2095880"/>
              <a:gd name="connsiteX93" fmla="*/ 3458623 w 7750397"/>
              <a:gd name="connsiteY93" fmla="*/ 1066324 h 2095880"/>
              <a:gd name="connsiteX94" fmla="*/ 3053810 w 7750397"/>
              <a:gd name="connsiteY94" fmla="*/ 1449515 h 2095880"/>
              <a:gd name="connsiteX95" fmla="*/ 3458623 w 7750397"/>
              <a:gd name="connsiteY95" fmla="*/ 1834134 h 2095880"/>
              <a:gd name="connsiteX96" fmla="*/ 3863435 w 7750397"/>
              <a:gd name="connsiteY96" fmla="*/ 1449515 h 2095880"/>
              <a:gd name="connsiteX97" fmla="*/ 3458623 w 7750397"/>
              <a:gd name="connsiteY97" fmla="*/ 1066324 h 2095880"/>
              <a:gd name="connsiteX98" fmla="*/ 3458623 w 7750397"/>
              <a:gd name="connsiteY98" fmla="*/ 1635728 h 2095880"/>
              <a:gd name="connsiteX99" fmla="*/ 3341180 w 7750397"/>
              <a:gd name="connsiteY99" fmla="*/ 1449515 h 2095880"/>
              <a:gd name="connsiteX100" fmla="*/ 3458623 w 7750397"/>
              <a:gd name="connsiteY100" fmla="*/ 1264634 h 2095880"/>
              <a:gd name="connsiteX101" fmla="*/ 3577400 w 7750397"/>
              <a:gd name="connsiteY101" fmla="*/ 1449515 h 2095880"/>
              <a:gd name="connsiteX102" fmla="*/ 3458623 w 7750397"/>
              <a:gd name="connsiteY102" fmla="*/ 1635728 h 2095880"/>
              <a:gd name="connsiteX103" fmla="*/ 4805744 w 7750397"/>
              <a:gd name="connsiteY103" fmla="*/ 1091851 h 2095880"/>
              <a:gd name="connsiteX104" fmla="*/ 4699159 w 7750397"/>
              <a:gd name="connsiteY104" fmla="*/ 1529143 h 2095880"/>
              <a:gd name="connsiteX105" fmla="*/ 4588478 w 7750397"/>
              <a:gd name="connsiteY105" fmla="*/ 1091851 h 2095880"/>
              <a:gd name="connsiteX106" fmla="*/ 4348258 w 7750397"/>
              <a:gd name="connsiteY106" fmla="*/ 1091851 h 2095880"/>
              <a:gd name="connsiteX107" fmla="*/ 4237578 w 7750397"/>
              <a:gd name="connsiteY107" fmla="*/ 1529143 h 2095880"/>
              <a:gd name="connsiteX108" fmla="*/ 4130898 w 7750397"/>
              <a:gd name="connsiteY108" fmla="*/ 1091851 h 2095880"/>
              <a:gd name="connsiteX109" fmla="*/ 3848862 w 7750397"/>
              <a:gd name="connsiteY109" fmla="*/ 1091851 h 2095880"/>
              <a:gd name="connsiteX110" fmla="*/ 4085082 w 7750397"/>
              <a:gd name="connsiteY110" fmla="*/ 1808512 h 2095880"/>
              <a:gd name="connsiteX111" fmla="*/ 4364356 w 7750397"/>
              <a:gd name="connsiteY111" fmla="*/ 1808512 h 2095880"/>
              <a:gd name="connsiteX112" fmla="*/ 4468368 w 7750397"/>
              <a:gd name="connsiteY112" fmla="*/ 1394174 h 2095880"/>
              <a:gd name="connsiteX113" fmla="*/ 4572191 w 7750397"/>
              <a:gd name="connsiteY113" fmla="*/ 1808512 h 2095880"/>
              <a:gd name="connsiteX114" fmla="*/ 4851559 w 7750397"/>
              <a:gd name="connsiteY114" fmla="*/ 1808512 h 2095880"/>
              <a:gd name="connsiteX115" fmla="*/ 5076825 w 7750397"/>
              <a:gd name="connsiteY115" fmla="*/ 1091851 h 2095880"/>
              <a:gd name="connsiteX116" fmla="*/ 4805648 w 7750397"/>
              <a:gd name="connsiteY116" fmla="*/ 1091851 h 2095880"/>
              <a:gd name="connsiteX117" fmla="*/ 5476018 w 7750397"/>
              <a:gd name="connsiteY117" fmla="*/ 1066229 h 2095880"/>
              <a:gd name="connsiteX118" fmla="*/ 5064443 w 7750397"/>
              <a:gd name="connsiteY118" fmla="*/ 1456182 h 2095880"/>
              <a:gd name="connsiteX119" fmla="*/ 5465159 w 7750397"/>
              <a:gd name="connsiteY119" fmla="*/ 1834039 h 2095880"/>
              <a:gd name="connsiteX120" fmla="*/ 5860542 w 7750397"/>
              <a:gd name="connsiteY120" fmla="*/ 1596581 h 2095880"/>
              <a:gd name="connsiteX121" fmla="*/ 5587937 w 7750397"/>
              <a:gd name="connsiteY121" fmla="*/ 1596581 h 2095880"/>
              <a:gd name="connsiteX122" fmla="*/ 5481257 w 7750397"/>
              <a:gd name="connsiteY122" fmla="*/ 1656017 h 2095880"/>
              <a:gd name="connsiteX123" fmla="*/ 5349049 w 7750397"/>
              <a:gd name="connsiteY123" fmla="*/ 1512951 h 2095880"/>
              <a:gd name="connsiteX124" fmla="*/ 5883402 w 7750397"/>
              <a:gd name="connsiteY124" fmla="*/ 1512951 h 2095880"/>
              <a:gd name="connsiteX125" fmla="*/ 5883402 w 7750397"/>
              <a:gd name="connsiteY125" fmla="*/ 1495425 h 2095880"/>
              <a:gd name="connsiteX126" fmla="*/ 5475828 w 7750397"/>
              <a:gd name="connsiteY126" fmla="*/ 1066324 h 2095880"/>
              <a:gd name="connsiteX127" fmla="*/ 5349240 w 7750397"/>
              <a:gd name="connsiteY127" fmla="*/ 1369790 h 2095880"/>
              <a:gd name="connsiteX128" fmla="*/ 5473351 w 7750397"/>
              <a:gd name="connsiteY128" fmla="*/ 1236155 h 2095880"/>
              <a:gd name="connsiteX129" fmla="*/ 5602891 w 7750397"/>
              <a:gd name="connsiteY129" fmla="*/ 1369790 h 2095880"/>
              <a:gd name="connsiteX130" fmla="*/ 5349240 w 7750397"/>
              <a:gd name="connsiteY130" fmla="*/ 1369790 h 2095880"/>
              <a:gd name="connsiteX131" fmla="*/ 6443377 w 7750397"/>
              <a:gd name="connsiteY131" fmla="*/ 1072896 h 2095880"/>
              <a:gd name="connsiteX132" fmla="*/ 6220682 w 7750397"/>
              <a:gd name="connsiteY132" fmla="*/ 1222724 h 2095880"/>
              <a:gd name="connsiteX133" fmla="*/ 6220682 w 7750397"/>
              <a:gd name="connsiteY133" fmla="*/ 1091756 h 2095880"/>
              <a:gd name="connsiteX134" fmla="*/ 5957507 w 7750397"/>
              <a:gd name="connsiteY134" fmla="*/ 1091756 h 2095880"/>
              <a:gd name="connsiteX135" fmla="*/ 5957507 w 7750397"/>
              <a:gd name="connsiteY135" fmla="*/ 1808417 h 2095880"/>
              <a:gd name="connsiteX136" fmla="*/ 6243543 w 7750397"/>
              <a:gd name="connsiteY136" fmla="*/ 1808417 h 2095880"/>
              <a:gd name="connsiteX137" fmla="*/ 6243543 w 7750397"/>
              <a:gd name="connsiteY137" fmla="*/ 1514285 h 2095880"/>
              <a:gd name="connsiteX138" fmla="*/ 6410897 w 7750397"/>
              <a:gd name="connsiteY138" fmla="*/ 1353598 h 2095880"/>
              <a:gd name="connsiteX139" fmla="*/ 6468999 w 7750397"/>
              <a:gd name="connsiteY139" fmla="*/ 1357693 h 2095880"/>
              <a:gd name="connsiteX140" fmla="*/ 6468999 w 7750397"/>
              <a:gd name="connsiteY140" fmla="*/ 1072896 h 2095880"/>
              <a:gd name="connsiteX141" fmla="*/ 6443377 w 7750397"/>
              <a:gd name="connsiteY141" fmla="*/ 1072896 h 20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50397" h="2095880">
                <a:moveTo>
                  <a:pt x="6897053" y="282131"/>
                </a:moveTo>
                <a:lnTo>
                  <a:pt x="6921151" y="306229"/>
                </a:lnTo>
                <a:lnTo>
                  <a:pt x="6921151" y="709708"/>
                </a:lnTo>
                <a:lnTo>
                  <a:pt x="6897053" y="733806"/>
                </a:lnTo>
                <a:lnTo>
                  <a:pt x="6493574" y="733806"/>
                </a:lnTo>
                <a:lnTo>
                  <a:pt x="6469475" y="709708"/>
                </a:lnTo>
                <a:lnTo>
                  <a:pt x="6469475" y="306229"/>
                </a:lnTo>
                <a:lnTo>
                  <a:pt x="6493574" y="282131"/>
                </a:lnTo>
                <a:lnTo>
                  <a:pt x="6897053" y="282131"/>
                </a:lnTo>
                <a:close/>
                <a:moveTo>
                  <a:pt x="7040594" y="829342"/>
                </a:moveTo>
                <a:lnTo>
                  <a:pt x="7016497" y="853345"/>
                </a:lnTo>
                <a:lnTo>
                  <a:pt x="7016497" y="1256919"/>
                </a:lnTo>
                <a:lnTo>
                  <a:pt x="7040594" y="1281017"/>
                </a:lnTo>
                <a:lnTo>
                  <a:pt x="7444073" y="1281017"/>
                </a:lnTo>
                <a:lnTo>
                  <a:pt x="7468077" y="1256919"/>
                </a:lnTo>
                <a:lnTo>
                  <a:pt x="7468077" y="853345"/>
                </a:lnTo>
                <a:lnTo>
                  <a:pt x="7444073" y="829342"/>
                </a:lnTo>
                <a:lnTo>
                  <a:pt x="7040594" y="829342"/>
                </a:lnTo>
                <a:close/>
                <a:moveTo>
                  <a:pt x="7750398" y="366998"/>
                </a:moveTo>
                <a:lnTo>
                  <a:pt x="7383304" y="0"/>
                </a:lnTo>
                <a:lnTo>
                  <a:pt x="7040309" y="0"/>
                </a:lnTo>
                <a:lnTo>
                  <a:pt x="7016211" y="24098"/>
                </a:lnTo>
                <a:lnTo>
                  <a:pt x="7016401" y="709708"/>
                </a:lnTo>
                <a:lnTo>
                  <a:pt x="7040499" y="733806"/>
                </a:lnTo>
                <a:lnTo>
                  <a:pt x="7726299" y="733806"/>
                </a:lnTo>
                <a:lnTo>
                  <a:pt x="7750398" y="709708"/>
                </a:lnTo>
                <a:lnTo>
                  <a:pt x="7750398" y="366998"/>
                </a:lnTo>
                <a:close/>
                <a:moveTo>
                  <a:pt x="6719602" y="829437"/>
                </a:moveTo>
                <a:lnTo>
                  <a:pt x="6695599" y="853440"/>
                </a:lnTo>
                <a:lnTo>
                  <a:pt x="6695599" y="1031177"/>
                </a:lnTo>
                <a:lnTo>
                  <a:pt x="6719602" y="1055275"/>
                </a:lnTo>
                <a:lnTo>
                  <a:pt x="6896957" y="1055275"/>
                </a:lnTo>
                <a:lnTo>
                  <a:pt x="6921056" y="1031272"/>
                </a:lnTo>
                <a:lnTo>
                  <a:pt x="6921056" y="853440"/>
                </a:lnTo>
                <a:lnTo>
                  <a:pt x="6896957" y="829437"/>
                </a:lnTo>
                <a:lnTo>
                  <a:pt x="6719602" y="829437"/>
                </a:lnTo>
                <a:close/>
                <a:moveTo>
                  <a:pt x="1851660" y="1069181"/>
                </a:moveTo>
                <a:cubicBezTo>
                  <a:pt x="1800035" y="1069181"/>
                  <a:pt x="1753648" y="1079373"/>
                  <a:pt x="1712595" y="1099566"/>
                </a:cubicBezTo>
                <a:cubicBezTo>
                  <a:pt x="1671447" y="1119854"/>
                  <a:pt x="1633633" y="1151573"/>
                  <a:pt x="1599057" y="1194721"/>
                </a:cubicBezTo>
                <a:cubicBezTo>
                  <a:pt x="1572387" y="1151573"/>
                  <a:pt x="1542098" y="1120045"/>
                  <a:pt x="1508189" y="1100233"/>
                </a:cubicBezTo>
                <a:cubicBezTo>
                  <a:pt x="1474280" y="1080421"/>
                  <a:pt x="1433893" y="1070515"/>
                  <a:pt x="1387126" y="1070515"/>
                </a:cubicBezTo>
                <a:cubicBezTo>
                  <a:pt x="1335977" y="1070515"/>
                  <a:pt x="1290638" y="1080611"/>
                  <a:pt x="1251299" y="1100900"/>
                </a:cubicBezTo>
                <a:cubicBezTo>
                  <a:pt x="1211961" y="1121188"/>
                  <a:pt x="1176528" y="1152430"/>
                  <a:pt x="1145000" y="1194816"/>
                </a:cubicBezTo>
                <a:lnTo>
                  <a:pt x="1145000" y="1089755"/>
                </a:lnTo>
                <a:lnTo>
                  <a:pt x="887159" y="1089755"/>
                </a:lnTo>
                <a:lnTo>
                  <a:pt x="887159" y="1808512"/>
                </a:lnTo>
                <a:lnTo>
                  <a:pt x="1166717" y="1808512"/>
                </a:lnTo>
                <a:lnTo>
                  <a:pt x="1166717" y="1422368"/>
                </a:lnTo>
                <a:cubicBezTo>
                  <a:pt x="1166717" y="1380935"/>
                  <a:pt x="1174909" y="1349407"/>
                  <a:pt x="1191292" y="1327785"/>
                </a:cubicBezTo>
                <a:cubicBezTo>
                  <a:pt x="1207675" y="1306163"/>
                  <a:pt x="1231678" y="1295400"/>
                  <a:pt x="1263110" y="1295400"/>
                </a:cubicBezTo>
                <a:cubicBezTo>
                  <a:pt x="1298543" y="1295400"/>
                  <a:pt x="1323975" y="1306068"/>
                  <a:pt x="1339501" y="1327499"/>
                </a:cubicBezTo>
                <a:cubicBezTo>
                  <a:pt x="1355027" y="1348931"/>
                  <a:pt x="1362837" y="1384268"/>
                  <a:pt x="1362837" y="1433608"/>
                </a:cubicBezTo>
                <a:lnTo>
                  <a:pt x="1362837" y="1808512"/>
                </a:lnTo>
                <a:lnTo>
                  <a:pt x="1641062" y="1808512"/>
                </a:lnTo>
                <a:lnTo>
                  <a:pt x="1641062" y="1426369"/>
                </a:lnTo>
                <a:cubicBezTo>
                  <a:pt x="1641062" y="1381411"/>
                  <a:pt x="1649159" y="1348359"/>
                  <a:pt x="1665351" y="1327214"/>
                </a:cubicBezTo>
                <a:cubicBezTo>
                  <a:pt x="1681543" y="1306068"/>
                  <a:pt x="1706880" y="1295400"/>
                  <a:pt x="1741456" y="1295400"/>
                </a:cubicBezTo>
                <a:cubicBezTo>
                  <a:pt x="1776032" y="1295400"/>
                  <a:pt x="1799558" y="1305592"/>
                  <a:pt x="1814608" y="1325880"/>
                </a:cubicBezTo>
                <a:cubicBezTo>
                  <a:pt x="1829657" y="1346168"/>
                  <a:pt x="1837277" y="1378744"/>
                  <a:pt x="1837277" y="1423702"/>
                </a:cubicBezTo>
                <a:lnTo>
                  <a:pt x="1837277" y="1808512"/>
                </a:lnTo>
                <a:lnTo>
                  <a:pt x="2116741" y="1808512"/>
                </a:lnTo>
                <a:lnTo>
                  <a:pt x="2116741" y="1318546"/>
                </a:lnTo>
                <a:cubicBezTo>
                  <a:pt x="2116741" y="1239679"/>
                  <a:pt x="2093595" y="1178338"/>
                  <a:pt x="2047208" y="1134713"/>
                </a:cubicBezTo>
                <a:cubicBezTo>
                  <a:pt x="2000822" y="1091089"/>
                  <a:pt x="1935670" y="1069277"/>
                  <a:pt x="1851660" y="1069277"/>
                </a:cubicBezTo>
                <a:close/>
                <a:moveTo>
                  <a:pt x="411575" y="1066324"/>
                </a:moveTo>
                <a:cubicBezTo>
                  <a:pt x="156591" y="1066324"/>
                  <a:pt x="0" y="1216057"/>
                  <a:pt x="0" y="1456277"/>
                </a:cubicBezTo>
                <a:cubicBezTo>
                  <a:pt x="0" y="1696498"/>
                  <a:pt x="152495" y="1834134"/>
                  <a:pt x="400717" y="1834134"/>
                </a:cubicBezTo>
                <a:cubicBezTo>
                  <a:pt x="622078" y="1834134"/>
                  <a:pt x="757047" y="1751838"/>
                  <a:pt x="796100" y="1596676"/>
                </a:cubicBezTo>
                <a:lnTo>
                  <a:pt x="523494" y="1596676"/>
                </a:lnTo>
                <a:cubicBezTo>
                  <a:pt x="509968" y="1634490"/>
                  <a:pt x="472250" y="1656112"/>
                  <a:pt x="416814" y="1656112"/>
                </a:cubicBezTo>
                <a:cubicBezTo>
                  <a:pt x="334518" y="1656112"/>
                  <a:pt x="287274" y="1604867"/>
                  <a:pt x="284607" y="1513046"/>
                </a:cubicBezTo>
                <a:lnTo>
                  <a:pt x="818959" y="1513046"/>
                </a:lnTo>
                <a:lnTo>
                  <a:pt x="818959" y="1495520"/>
                </a:lnTo>
                <a:cubicBezTo>
                  <a:pt x="818959" y="1225582"/>
                  <a:pt x="665131" y="1066419"/>
                  <a:pt x="411385" y="1066419"/>
                </a:cubicBezTo>
                <a:close/>
                <a:moveTo>
                  <a:pt x="284797" y="1369885"/>
                </a:moveTo>
                <a:cubicBezTo>
                  <a:pt x="288703" y="1284923"/>
                  <a:pt x="334709" y="1236250"/>
                  <a:pt x="408908" y="1236250"/>
                </a:cubicBezTo>
                <a:cubicBezTo>
                  <a:pt x="489871" y="1236250"/>
                  <a:pt x="533019" y="1280827"/>
                  <a:pt x="538448" y="1369885"/>
                </a:cubicBezTo>
                <a:lnTo>
                  <a:pt x="284797" y="1369885"/>
                </a:lnTo>
                <a:close/>
                <a:moveTo>
                  <a:pt x="2702052" y="1072991"/>
                </a:moveTo>
                <a:cubicBezTo>
                  <a:pt x="2599563" y="1072991"/>
                  <a:pt x="2526697" y="1106710"/>
                  <a:pt x="2470023" y="1183672"/>
                </a:cubicBezTo>
                <a:lnTo>
                  <a:pt x="2470023" y="1091851"/>
                </a:lnTo>
                <a:lnTo>
                  <a:pt x="2217706" y="1091851"/>
                </a:lnTo>
                <a:lnTo>
                  <a:pt x="2217706" y="2095881"/>
                </a:lnTo>
                <a:lnTo>
                  <a:pt x="2494312" y="2095881"/>
                </a:lnTo>
                <a:lnTo>
                  <a:pt x="2494312" y="1740980"/>
                </a:lnTo>
                <a:cubicBezTo>
                  <a:pt x="2544223" y="1804416"/>
                  <a:pt x="2608993" y="1832705"/>
                  <a:pt x="2696718" y="1832705"/>
                </a:cubicBezTo>
                <a:cubicBezTo>
                  <a:pt x="2888361" y="1832705"/>
                  <a:pt x="3013901" y="1685544"/>
                  <a:pt x="3013901" y="1452182"/>
                </a:cubicBezTo>
                <a:cubicBezTo>
                  <a:pt x="3013901" y="1218819"/>
                  <a:pt x="2884361" y="1072991"/>
                  <a:pt x="2702147" y="1072991"/>
                </a:cubicBezTo>
                <a:close/>
                <a:moveTo>
                  <a:pt x="2611660" y="1614202"/>
                </a:moveTo>
                <a:cubicBezTo>
                  <a:pt x="2533460" y="1614202"/>
                  <a:pt x="2494312" y="1560195"/>
                  <a:pt x="2494312" y="1452182"/>
                </a:cubicBezTo>
                <a:cubicBezTo>
                  <a:pt x="2494312" y="1338834"/>
                  <a:pt x="2529364" y="1286161"/>
                  <a:pt x="2614422" y="1286161"/>
                </a:cubicBezTo>
                <a:cubicBezTo>
                  <a:pt x="2692718" y="1286161"/>
                  <a:pt x="2729103" y="1340168"/>
                  <a:pt x="2729103" y="1452182"/>
                </a:cubicBezTo>
                <a:cubicBezTo>
                  <a:pt x="2729103" y="1564196"/>
                  <a:pt x="2688622" y="1614202"/>
                  <a:pt x="2611660" y="1614202"/>
                </a:cubicBezTo>
                <a:close/>
                <a:moveTo>
                  <a:pt x="3458623" y="1066324"/>
                </a:moveTo>
                <a:cubicBezTo>
                  <a:pt x="3206306" y="1066324"/>
                  <a:pt x="3053810" y="1211961"/>
                  <a:pt x="3053810" y="1449515"/>
                </a:cubicBezTo>
                <a:cubicBezTo>
                  <a:pt x="3053810" y="1687068"/>
                  <a:pt x="3206306" y="1834134"/>
                  <a:pt x="3458623" y="1834134"/>
                </a:cubicBezTo>
                <a:cubicBezTo>
                  <a:pt x="3710940" y="1834134"/>
                  <a:pt x="3863435" y="1687068"/>
                  <a:pt x="3863435" y="1449515"/>
                </a:cubicBezTo>
                <a:cubicBezTo>
                  <a:pt x="3863435" y="1211961"/>
                  <a:pt x="3710940" y="1066324"/>
                  <a:pt x="3458623" y="1066324"/>
                </a:cubicBezTo>
                <a:close/>
                <a:moveTo>
                  <a:pt x="3458623" y="1635728"/>
                </a:moveTo>
                <a:cubicBezTo>
                  <a:pt x="3372231" y="1635728"/>
                  <a:pt x="3341180" y="1576388"/>
                  <a:pt x="3341180" y="1449515"/>
                </a:cubicBezTo>
                <a:cubicBezTo>
                  <a:pt x="3341180" y="1322642"/>
                  <a:pt x="3372231" y="1264634"/>
                  <a:pt x="3458623" y="1264634"/>
                </a:cubicBezTo>
                <a:cubicBezTo>
                  <a:pt x="3545015" y="1264634"/>
                  <a:pt x="3577400" y="1322737"/>
                  <a:pt x="3577400" y="1449515"/>
                </a:cubicBezTo>
                <a:cubicBezTo>
                  <a:pt x="3577400" y="1576292"/>
                  <a:pt x="3545015" y="1635728"/>
                  <a:pt x="3458623" y="1635728"/>
                </a:cubicBezTo>
                <a:close/>
                <a:moveTo>
                  <a:pt x="4805744" y="1091851"/>
                </a:moveTo>
                <a:lnTo>
                  <a:pt x="4699159" y="1529143"/>
                </a:lnTo>
                <a:lnTo>
                  <a:pt x="4588478" y="1091851"/>
                </a:lnTo>
                <a:lnTo>
                  <a:pt x="4348258" y="1091851"/>
                </a:lnTo>
                <a:lnTo>
                  <a:pt x="4237578" y="1529143"/>
                </a:lnTo>
                <a:lnTo>
                  <a:pt x="4130898" y="1091851"/>
                </a:lnTo>
                <a:lnTo>
                  <a:pt x="3848862" y="1091851"/>
                </a:lnTo>
                <a:lnTo>
                  <a:pt x="4085082" y="1808512"/>
                </a:lnTo>
                <a:lnTo>
                  <a:pt x="4364356" y="1808512"/>
                </a:lnTo>
                <a:lnTo>
                  <a:pt x="4468368" y="1394174"/>
                </a:lnTo>
                <a:lnTo>
                  <a:pt x="4572191" y="1808512"/>
                </a:lnTo>
                <a:lnTo>
                  <a:pt x="4851559" y="1808512"/>
                </a:lnTo>
                <a:lnTo>
                  <a:pt x="5076825" y="1091851"/>
                </a:lnTo>
                <a:lnTo>
                  <a:pt x="4805648" y="1091851"/>
                </a:lnTo>
                <a:close/>
                <a:moveTo>
                  <a:pt x="5476018" y="1066229"/>
                </a:moveTo>
                <a:cubicBezTo>
                  <a:pt x="5221034" y="1066229"/>
                  <a:pt x="5064443" y="1215962"/>
                  <a:pt x="5064443" y="1456182"/>
                </a:cubicBezTo>
                <a:cubicBezTo>
                  <a:pt x="5064443" y="1696402"/>
                  <a:pt x="5216938" y="1834039"/>
                  <a:pt x="5465159" y="1834039"/>
                </a:cubicBezTo>
                <a:cubicBezTo>
                  <a:pt x="5686521" y="1834039"/>
                  <a:pt x="5821490" y="1751743"/>
                  <a:pt x="5860542" y="1596581"/>
                </a:cubicBezTo>
                <a:lnTo>
                  <a:pt x="5587937" y="1596581"/>
                </a:lnTo>
                <a:cubicBezTo>
                  <a:pt x="5574411" y="1634395"/>
                  <a:pt x="5536597" y="1656017"/>
                  <a:pt x="5481257" y="1656017"/>
                </a:cubicBezTo>
                <a:cubicBezTo>
                  <a:pt x="5398961" y="1656017"/>
                  <a:pt x="5351717" y="1604772"/>
                  <a:pt x="5349049" y="1512951"/>
                </a:cubicBezTo>
                <a:lnTo>
                  <a:pt x="5883402" y="1512951"/>
                </a:lnTo>
                <a:lnTo>
                  <a:pt x="5883402" y="1495425"/>
                </a:lnTo>
                <a:cubicBezTo>
                  <a:pt x="5883402" y="1225487"/>
                  <a:pt x="5729573" y="1066324"/>
                  <a:pt x="5475828" y="1066324"/>
                </a:cubicBezTo>
                <a:close/>
                <a:moveTo>
                  <a:pt x="5349240" y="1369790"/>
                </a:moveTo>
                <a:cubicBezTo>
                  <a:pt x="5353146" y="1284827"/>
                  <a:pt x="5399151" y="1236155"/>
                  <a:pt x="5473351" y="1236155"/>
                </a:cubicBezTo>
                <a:cubicBezTo>
                  <a:pt x="5554314" y="1236155"/>
                  <a:pt x="5597462" y="1280732"/>
                  <a:pt x="5602891" y="1369790"/>
                </a:cubicBezTo>
                <a:lnTo>
                  <a:pt x="5349240" y="1369790"/>
                </a:lnTo>
                <a:close/>
                <a:moveTo>
                  <a:pt x="6443377" y="1072896"/>
                </a:moveTo>
                <a:cubicBezTo>
                  <a:pt x="6327267" y="1072896"/>
                  <a:pt x="6258497" y="1117378"/>
                  <a:pt x="6220682" y="1222724"/>
                </a:cubicBezTo>
                <a:lnTo>
                  <a:pt x="6220682" y="1091756"/>
                </a:lnTo>
                <a:lnTo>
                  <a:pt x="5957507" y="1091756"/>
                </a:lnTo>
                <a:lnTo>
                  <a:pt x="5957507" y="1808417"/>
                </a:lnTo>
                <a:lnTo>
                  <a:pt x="6243543" y="1808417"/>
                </a:lnTo>
                <a:lnTo>
                  <a:pt x="6243543" y="1514285"/>
                </a:lnTo>
                <a:cubicBezTo>
                  <a:pt x="6243543" y="1403604"/>
                  <a:pt x="6296216" y="1353598"/>
                  <a:pt x="6410897" y="1353598"/>
                </a:cubicBezTo>
                <a:cubicBezTo>
                  <a:pt x="6428423" y="1353598"/>
                  <a:pt x="6447378" y="1355027"/>
                  <a:pt x="6468999" y="1357693"/>
                </a:cubicBezTo>
                <a:lnTo>
                  <a:pt x="6468999" y="1072896"/>
                </a:lnTo>
                <a:lnTo>
                  <a:pt x="6443377" y="107289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1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528A10-E9D5-56B2-BAA2-A2CFEBBCA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Green Block">
            <a:extLst>
              <a:ext uri="{FF2B5EF4-FFF2-40B4-BE49-F238E27FC236}">
                <a16:creationId xmlns:a16="http://schemas.microsoft.com/office/drawing/2014/main" id="{61D5DE2B-4FC1-5593-B3EE-6E52BCCF57EB}"/>
              </a:ext>
            </a:extLst>
          </p:cNvPr>
          <p:cNvSpPr/>
          <p:nvPr/>
        </p:nvSpPr>
        <p:spPr bwMode="white">
          <a:xfrm>
            <a:off x="0" y="1"/>
            <a:ext cx="4876800" cy="4680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23000">
                <a:schemeClr val="accent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PT">
              <a:solidFill>
                <a:schemeClr val="lt1"/>
              </a:solidFill>
            </a:endParaRPr>
          </a:p>
        </p:txBody>
      </p:sp>
      <p:sp>
        <p:nvSpPr>
          <p:cNvPr id="11" name="Squiggle 2">
            <a:extLst>
              <a:ext uri="{FF2B5EF4-FFF2-40B4-BE49-F238E27FC236}">
                <a16:creationId xmlns:a16="http://schemas.microsoft.com/office/drawing/2014/main" id="{8CC02ACD-8210-40F4-BF0E-D9A8942532F0}"/>
              </a:ext>
            </a:extLst>
          </p:cNvPr>
          <p:cNvSpPr/>
          <p:nvPr/>
        </p:nvSpPr>
        <p:spPr>
          <a:xfrm>
            <a:off x="418458" y="1949496"/>
            <a:ext cx="4458342" cy="2730506"/>
          </a:xfrm>
          <a:custGeom>
            <a:avLst/>
            <a:gdLst>
              <a:gd name="connsiteX0" fmla="*/ 4458342 w 4458342"/>
              <a:gd name="connsiteY0" fmla="*/ 68 h 2730506"/>
              <a:gd name="connsiteX1" fmla="*/ 4448817 w 4458342"/>
              <a:gd name="connsiteY1" fmla="*/ 2721043 h 2730506"/>
              <a:gd name="connsiteX2" fmla="*/ 4174621 w 4458342"/>
              <a:gd name="connsiteY2" fmla="*/ 2728793 h 2730506"/>
              <a:gd name="connsiteX3" fmla="*/ 4144911 w 4458342"/>
              <a:gd name="connsiteY3" fmla="*/ 2730506 h 2730506"/>
              <a:gd name="connsiteX4" fmla="*/ 2623679 w 4458342"/>
              <a:gd name="connsiteY4" fmla="*/ 2730506 h 2730506"/>
              <a:gd name="connsiteX5" fmla="*/ 2661479 w 4458342"/>
              <a:gd name="connsiteY5" fmla="*/ 2630001 h 2730506"/>
              <a:gd name="connsiteX6" fmla="*/ 3376488 w 4458342"/>
              <a:gd name="connsiteY6" fmla="*/ 1150378 h 2730506"/>
              <a:gd name="connsiteX7" fmla="*/ 2275273 w 4458342"/>
              <a:gd name="connsiteY7" fmla="*/ 1976289 h 2730506"/>
              <a:gd name="connsiteX8" fmla="*/ 1294379 w 4458342"/>
              <a:gd name="connsiteY8" fmla="*/ 2730506 h 2730506"/>
              <a:gd name="connsiteX9" fmla="*/ 0 w 4458342"/>
              <a:gd name="connsiteY9" fmla="*/ 2730506 h 2730506"/>
              <a:gd name="connsiteX10" fmla="*/ 74915 w 4458342"/>
              <a:gd name="connsiteY10" fmla="*/ 2634677 h 2730506"/>
              <a:gd name="connsiteX11" fmla="*/ 2197742 w 4458342"/>
              <a:gd name="connsiteY11" fmla="*/ 1114493 h 2730506"/>
              <a:gd name="connsiteX12" fmla="*/ 4458342 w 4458342"/>
              <a:gd name="connsiteY12" fmla="*/ 68 h 2730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58342" h="2730506">
                <a:moveTo>
                  <a:pt x="4458342" y="68"/>
                </a:moveTo>
                <a:lnTo>
                  <a:pt x="4448817" y="2721043"/>
                </a:lnTo>
                <a:cubicBezTo>
                  <a:pt x="4362232" y="2721837"/>
                  <a:pt x="4270538" y="2724522"/>
                  <a:pt x="4174621" y="2728793"/>
                </a:cubicBezTo>
                <a:lnTo>
                  <a:pt x="4144911" y="2730506"/>
                </a:lnTo>
                <a:lnTo>
                  <a:pt x="2623679" y="2730506"/>
                </a:lnTo>
                <a:lnTo>
                  <a:pt x="2661479" y="2630001"/>
                </a:lnTo>
                <a:cubicBezTo>
                  <a:pt x="2867822" y="2113582"/>
                  <a:pt x="3178614" y="1530354"/>
                  <a:pt x="3376488" y="1150378"/>
                </a:cubicBezTo>
                <a:lnTo>
                  <a:pt x="2275273" y="1976289"/>
                </a:lnTo>
                <a:lnTo>
                  <a:pt x="1294379" y="2730506"/>
                </a:lnTo>
                <a:lnTo>
                  <a:pt x="0" y="2730506"/>
                </a:lnTo>
                <a:lnTo>
                  <a:pt x="74915" y="2634677"/>
                </a:lnTo>
                <a:cubicBezTo>
                  <a:pt x="465021" y="2199819"/>
                  <a:pt x="1632451" y="1506964"/>
                  <a:pt x="2197742" y="1114493"/>
                </a:cubicBezTo>
                <a:cubicBezTo>
                  <a:pt x="2951463" y="591198"/>
                  <a:pt x="4424475" y="-7340"/>
                  <a:pt x="4458342" y="68"/>
                </a:cubicBezTo>
                <a:close/>
              </a:path>
            </a:pathLst>
          </a:custGeom>
          <a:gradFill>
            <a:gsLst>
              <a:gs pos="70000">
                <a:srgbClr val="00B9B4"/>
              </a:gs>
              <a:gs pos="40000">
                <a:schemeClr val="accent6"/>
              </a:gs>
              <a:gs pos="100000">
                <a:schemeClr val="accent6"/>
              </a:gs>
              <a:gs pos="12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quiggle 1">
            <a:extLst>
              <a:ext uri="{FF2B5EF4-FFF2-40B4-BE49-F238E27FC236}">
                <a16:creationId xmlns:a16="http://schemas.microsoft.com/office/drawing/2014/main" id="{1685A533-6680-6637-C9CD-3D80C64A7375}"/>
              </a:ext>
            </a:extLst>
          </p:cNvPr>
          <p:cNvSpPr/>
          <p:nvPr/>
        </p:nvSpPr>
        <p:spPr>
          <a:xfrm>
            <a:off x="0" y="1"/>
            <a:ext cx="3905250" cy="4680000"/>
          </a:xfrm>
          <a:custGeom>
            <a:avLst/>
            <a:gdLst>
              <a:gd name="connsiteX0" fmla="*/ 0 w 3143251"/>
              <a:gd name="connsiteY0" fmla="*/ 0 h 4076700"/>
              <a:gd name="connsiteX1" fmla="*/ 3143251 w 3143251"/>
              <a:gd name="connsiteY1" fmla="*/ 0 h 4076700"/>
              <a:gd name="connsiteX2" fmla="*/ 1743076 w 3143251"/>
              <a:gd name="connsiteY2" fmla="*/ 1943100 h 4076700"/>
              <a:gd name="connsiteX3" fmla="*/ 0 w 3143251"/>
              <a:gd name="connsiteY3" fmla="*/ 4076700 h 4076700"/>
              <a:gd name="connsiteX4" fmla="*/ 0 w 3143251"/>
              <a:gd name="connsiteY4" fmla="*/ 2040508 h 4076700"/>
              <a:gd name="connsiteX5" fmla="*/ 21267 w 3143251"/>
              <a:gd name="connsiteY5" fmla="*/ 2008537 h 4076700"/>
              <a:gd name="connsiteX6" fmla="*/ 460479 w 3143251"/>
              <a:gd name="connsiteY6" fmla="*/ 1482537 h 4076700"/>
              <a:gd name="connsiteX7" fmla="*/ 10638 w 3143251"/>
              <a:gd name="connsiteY7" fmla="*/ 1717593 h 4076700"/>
              <a:gd name="connsiteX8" fmla="*/ 0 w 3143251"/>
              <a:gd name="connsiteY8" fmla="*/ 172251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3251" h="4076700">
                <a:moveTo>
                  <a:pt x="0" y="0"/>
                </a:moveTo>
                <a:lnTo>
                  <a:pt x="3143251" y="0"/>
                </a:lnTo>
                <a:cubicBezTo>
                  <a:pt x="2781301" y="647700"/>
                  <a:pt x="2209801" y="1295400"/>
                  <a:pt x="1743076" y="1943100"/>
                </a:cubicBezTo>
                <a:cubicBezTo>
                  <a:pt x="1219201" y="2622550"/>
                  <a:pt x="871538" y="3009900"/>
                  <a:pt x="0" y="4076700"/>
                </a:cubicBezTo>
                <a:lnTo>
                  <a:pt x="0" y="2040508"/>
                </a:lnTo>
                <a:lnTo>
                  <a:pt x="21267" y="2008537"/>
                </a:lnTo>
                <a:cubicBezTo>
                  <a:pt x="166305" y="1796335"/>
                  <a:pt x="232480" y="1770389"/>
                  <a:pt x="460479" y="1482537"/>
                </a:cubicBezTo>
                <a:lnTo>
                  <a:pt x="10638" y="1717593"/>
                </a:lnTo>
                <a:lnTo>
                  <a:pt x="0" y="1722510"/>
                </a:lnTo>
                <a:close/>
              </a:path>
            </a:pathLst>
          </a:custGeom>
          <a:gradFill>
            <a:gsLst>
              <a:gs pos="71000">
                <a:srgbClr val="00BB8B"/>
              </a:gs>
              <a:gs pos="100000">
                <a:schemeClr val="accent6"/>
              </a:gs>
              <a:gs pos="41000">
                <a:schemeClr val="accent6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504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A49053-BE6C-1C4D-CB70-DBBAF999C8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034885 w 12192000"/>
              <a:gd name="connsiteY0" fmla="*/ 1173187 h 6858000"/>
              <a:gd name="connsiteX1" fmla="*/ 10071020 w 12192000"/>
              <a:gd name="connsiteY1" fmla="*/ 1225500 h 6858000"/>
              <a:gd name="connsiteX2" fmla="*/ 10034015 w 12192000"/>
              <a:gd name="connsiteY2" fmla="*/ 1276551 h 6858000"/>
              <a:gd name="connsiteX3" fmla="*/ 9997039 w 12192000"/>
              <a:gd name="connsiteY3" fmla="*/ 1225500 h 6858000"/>
              <a:gd name="connsiteX4" fmla="*/ 10034885 w 12192000"/>
              <a:gd name="connsiteY4" fmla="*/ 1173187 h 6858000"/>
              <a:gd name="connsiteX5" fmla="*/ 10300888 w 12192000"/>
              <a:gd name="connsiteY5" fmla="*/ 1166404 h 6858000"/>
              <a:gd name="connsiteX6" fmla="*/ 10338314 w 12192000"/>
              <a:gd name="connsiteY6" fmla="*/ 1224659 h 6858000"/>
              <a:gd name="connsiteX7" fmla="*/ 10300888 w 12192000"/>
              <a:gd name="connsiteY7" fmla="*/ 1283334 h 6858000"/>
              <a:gd name="connsiteX8" fmla="*/ 10263882 w 12192000"/>
              <a:gd name="connsiteY8" fmla="*/ 1224659 h 6858000"/>
              <a:gd name="connsiteX9" fmla="*/ 10300888 w 12192000"/>
              <a:gd name="connsiteY9" fmla="*/ 1166404 h 6858000"/>
              <a:gd name="connsiteX10" fmla="*/ 9339940 w 12192000"/>
              <a:gd name="connsiteY10" fmla="*/ 1157461 h 6858000"/>
              <a:gd name="connsiteX11" fmla="*/ 9380757 w 12192000"/>
              <a:gd name="connsiteY11" fmla="*/ 1199568 h 6858000"/>
              <a:gd name="connsiteX12" fmla="*/ 9300833 w 12192000"/>
              <a:gd name="connsiteY12" fmla="*/ 1199568 h 6858000"/>
              <a:gd name="connsiteX13" fmla="*/ 9339940 w 12192000"/>
              <a:gd name="connsiteY13" fmla="*/ 1157461 h 6858000"/>
              <a:gd name="connsiteX14" fmla="*/ 10935718 w 12192000"/>
              <a:gd name="connsiteY14" fmla="*/ 1157431 h 6858000"/>
              <a:gd name="connsiteX15" fmla="*/ 10976535 w 12192000"/>
              <a:gd name="connsiteY15" fmla="*/ 1199538 h 6858000"/>
              <a:gd name="connsiteX16" fmla="*/ 10896611 w 12192000"/>
              <a:gd name="connsiteY16" fmla="*/ 1199538 h 6858000"/>
              <a:gd name="connsiteX17" fmla="*/ 10935718 w 12192000"/>
              <a:gd name="connsiteY17" fmla="*/ 1157431 h 6858000"/>
              <a:gd name="connsiteX18" fmla="*/ 10423850 w 12192000"/>
              <a:gd name="connsiteY18" fmla="*/ 1111961 h 6858000"/>
              <a:gd name="connsiteX19" fmla="*/ 10498282 w 12192000"/>
              <a:gd name="connsiteY19" fmla="*/ 1337777 h 6858000"/>
              <a:gd name="connsiteX20" fmla="*/ 10586279 w 12192000"/>
              <a:gd name="connsiteY20" fmla="*/ 1337777 h 6858000"/>
              <a:gd name="connsiteX21" fmla="*/ 10619053 w 12192000"/>
              <a:gd name="connsiteY21" fmla="*/ 1207222 h 6858000"/>
              <a:gd name="connsiteX22" fmla="*/ 10651767 w 12192000"/>
              <a:gd name="connsiteY22" fmla="*/ 1337777 h 6858000"/>
              <a:gd name="connsiteX23" fmla="*/ 10739794 w 12192000"/>
              <a:gd name="connsiteY23" fmla="*/ 1337777 h 6858000"/>
              <a:gd name="connsiteX24" fmla="*/ 10810774 w 12192000"/>
              <a:gd name="connsiteY24" fmla="*/ 1111961 h 6858000"/>
              <a:gd name="connsiteX25" fmla="*/ 10725358 w 12192000"/>
              <a:gd name="connsiteY25" fmla="*/ 1111961 h 6858000"/>
              <a:gd name="connsiteX26" fmla="*/ 10691774 w 12192000"/>
              <a:gd name="connsiteY26" fmla="*/ 1249750 h 6858000"/>
              <a:gd name="connsiteX27" fmla="*/ 10656899 w 12192000"/>
              <a:gd name="connsiteY27" fmla="*/ 1111961 h 6858000"/>
              <a:gd name="connsiteX28" fmla="*/ 10581207 w 12192000"/>
              <a:gd name="connsiteY28" fmla="*/ 1111961 h 6858000"/>
              <a:gd name="connsiteX29" fmla="*/ 10546332 w 12192000"/>
              <a:gd name="connsiteY29" fmla="*/ 1249750 h 6858000"/>
              <a:gd name="connsiteX30" fmla="*/ 10512718 w 12192000"/>
              <a:gd name="connsiteY30" fmla="*/ 1111961 h 6858000"/>
              <a:gd name="connsiteX31" fmla="*/ 10062497 w 12192000"/>
              <a:gd name="connsiteY31" fmla="*/ 1106019 h 6858000"/>
              <a:gd name="connsiteX32" fmla="*/ 9989386 w 12192000"/>
              <a:gd name="connsiteY32" fmla="*/ 1140894 h 6858000"/>
              <a:gd name="connsiteX33" fmla="*/ 9989386 w 12192000"/>
              <a:gd name="connsiteY33" fmla="*/ 1111961 h 6858000"/>
              <a:gd name="connsiteX34" fmla="*/ 9909882 w 12192000"/>
              <a:gd name="connsiteY34" fmla="*/ 1111961 h 6858000"/>
              <a:gd name="connsiteX35" fmla="*/ 9909882 w 12192000"/>
              <a:gd name="connsiteY35" fmla="*/ 1428325 h 6858000"/>
              <a:gd name="connsiteX36" fmla="*/ 9997039 w 12192000"/>
              <a:gd name="connsiteY36" fmla="*/ 1428325 h 6858000"/>
              <a:gd name="connsiteX37" fmla="*/ 9997039 w 12192000"/>
              <a:gd name="connsiteY37" fmla="*/ 1316498 h 6858000"/>
              <a:gd name="connsiteX38" fmla="*/ 10060816 w 12192000"/>
              <a:gd name="connsiteY38" fmla="*/ 1345400 h 6858000"/>
              <a:gd name="connsiteX39" fmla="*/ 10160758 w 12192000"/>
              <a:gd name="connsiteY39" fmla="*/ 1225500 h 6858000"/>
              <a:gd name="connsiteX40" fmla="*/ 10062526 w 12192000"/>
              <a:gd name="connsiteY40" fmla="*/ 1106019 h 6858000"/>
              <a:gd name="connsiteX41" fmla="*/ 11241367 w 12192000"/>
              <a:gd name="connsiteY41" fmla="*/ 1105989 h 6858000"/>
              <a:gd name="connsiteX42" fmla="*/ 11171197 w 12192000"/>
              <a:gd name="connsiteY42" fmla="*/ 1153199 h 6858000"/>
              <a:gd name="connsiteX43" fmla="*/ 11171197 w 12192000"/>
              <a:gd name="connsiteY43" fmla="*/ 1111931 h 6858000"/>
              <a:gd name="connsiteX44" fmla="*/ 11088272 w 12192000"/>
              <a:gd name="connsiteY44" fmla="*/ 1111931 h 6858000"/>
              <a:gd name="connsiteX45" fmla="*/ 11088272 w 12192000"/>
              <a:gd name="connsiteY45" fmla="*/ 1337747 h 6858000"/>
              <a:gd name="connsiteX46" fmla="*/ 11178401 w 12192000"/>
              <a:gd name="connsiteY46" fmla="*/ 1337747 h 6858000"/>
              <a:gd name="connsiteX47" fmla="*/ 11178401 w 12192000"/>
              <a:gd name="connsiteY47" fmla="*/ 1245068 h 6858000"/>
              <a:gd name="connsiteX48" fmla="*/ 11231133 w 12192000"/>
              <a:gd name="connsiteY48" fmla="*/ 1194436 h 6858000"/>
              <a:gd name="connsiteX49" fmla="*/ 11249441 w 12192000"/>
              <a:gd name="connsiteY49" fmla="*/ 1195727 h 6858000"/>
              <a:gd name="connsiteX50" fmla="*/ 11249441 w 12192000"/>
              <a:gd name="connsiteY50" fmla="*/ 1105989 h 6858000"/>
              <a:gd name="connsiteX51" fmla="*/ 9794543 w 12192000"/>
              <a:gd name="connsiteY51" fmla="*/ 1104818 h 6858000"/>
              <a:gd name="connsiteX52" fmla="*/ 9750724 w 12192000"/>
              <a:gd name="connsiteY52" fmla="*/ 1114392 h 6858000"/>
              <a:gd name="connsiteX53" fmla="*/ 9714949 w 12192000"/>
              <a:gd name="connsiteY53" fmla="*/ 1144375 h 6858000"/>
              <a:gd name="connsiteX54" fmla="*/ 9686317 w 12192000"/>
              <a:gd name="connsiteY54" fmla="*/ 1114602 h 6858000"/>
              <a:gd name="connsiteX55" fmla="*/ 9648171 w 12192000"/>
              <a:gd name="connsiteY55" fmla="*/ 1105238 h 6858000"/>
              <a:gd name="connsiteX56" fmla="*/ 9605372 w 12192000"/>
              <a:gd name="connsiteY56" fmla="*/ 1114813 h 6858000"/>
              <a:gd name="connsiteX57" fmla="*/ 9571878 w 12192000"/>
              <a:gd name="connsiteY57" fmla="*/ 1144405 h 6858000"/>
              <a:gd name="connsiteX58" fmla="*/ 9571878 w 12192000"/>
              <a:gd name="connsiteY58" fmla="*/ 1111301 h 6858000"/>
              <a:gd name="connsiteX59" fmla="*/ 9490634 w 12192000"/>
              <a:gd name="connsiteY59" fmla="*/ 1111301 h 6858000"/>
              <a:gd name="connsiteX60" fmla="*/ 9490634 w 12192000"/>
              <a:gd name="connsiteY60" fmla="*/ 1337777 h 6858000"/>
              <a:gd name="connsiteX61" fmla="*/ 9578721 w 12192000"/>
              <a:gd name="connsiteY61" fmla="*/ 1337777 h 6858000"/>
              <a:gd name="connsiteX62" fmla="*/ 9578721 w 12192000"/>
              <a:gd name="connsiteY62" fmla="*/ 1216105 h 6858000"/>
              <a:gd name="connsiteX63" fmla="*/ 9586464 w 12192000"/>
              <a:gd name="connsiteY63" fmla="*/ 1186303 h 6858000"/>
              <a:gd name="connsiteX64" fmla="*/ 9609094 w 12192000"/>
              <a:gd name="connsiteY64" fmla="*/ 1176098 h 6858000"/>
              <a:gd name="connsiteX65" fmla="*/ 9633164 w 12192000"/>
              <a:gd name="connsiteY65" fmla="*/ 1186213 h 6858000"/>
              <a:gd name="connsiteX66" fmla="*/ 9640517 w 12192000"/>
              <a:gd name="connsiteY66" fmla="*/ 1219647 h 6858000"/>
              <a:gd name="connsiteX67" fmla="*/ 9640517 w 12192000"/>
              <a:gd name="connsiteY67" fmla="*/ 1337777 h 6858000"/>
              <a:gd name="connsiteX68" fmla="*/ 9728184 w 12192000"/>
              <a:gd name="connsiteY68" fmla="*/ 1337777 h 6858000"/>
              <a:gd name="connsiteX69" fmla="*/ 9728184 w 12192000"/>
              <a:gd name="connsiteY69" fmla="*/ 1217366 h 6858000"/>
              <a:gd name="connsiteX70" fmla="*/ 9735838 w 12192000"/>
              <a:gd name="connsiteY70" fmla="*/ 1186123 h 6858000"/>
              <a:gd name="connsiteX71" fmla="*/ 9759818 w 12192000"/>
              <a:gd name="connsiteY71" fmla="*/ 1176098 h 6858000"/>
              <a:gd name="connsiteX72" fmla="*/ 9782868 w 12192000"/>
              <a:gd name="connsiteY72" fmla="*/ 1185703 h 6858000"/>
              <a:gd name="connsiteX73" fmla="*/ 9790011 w 12192000"/>
              <a:gd name="connsiteY73" fmla="*/ 1216526 h 6858000"/>
              <a:gd name="connsiteX74" fmla="*/ 9790011 w 12192000"/>
              <a:gd name="connsiteY74" fmla="*/ 1337777 h 6858000"/>
              <a:gd name="connsiteX75" fmla="*/ 9878068 w 12192000"/>
              <a:gd name="connsiteY75" fmla="*/ 1337777 h 6858000"/>
              <a:gd name="connsiteX76" fmla="*/ 9878068 w 12192000"/>
              <a:gd name="connsiteY76" fmla="*/ 1183392 h 6858000"/>
              <a:gd name="connsiteX77" fmla="*/ 9856159 w 12192000"/>
              <a:gd name="connsiteY77" fmla="*/ 1125467 h 6858000"/>
              <a:gd name="connsiteX78" fmla="*/ 9794543 w 12192000"/>
              <a:gd name="connsiteY78" fmla="*/ 1104848 h 6858000"/>
              <a:gd name="connsiteX79" fmla="*/ 10300888 w 12192000"/>
              <a:gd name="connsiteY79" fmla="*/ 1103918 h 6858000"/>
              <a:gd name="connsiteX80" fmla="*/ 10173334 w 12192000"/>
              <a:gd name="connsiteY80" fmla="*/ 1224659 h 6858000"/>
              <a:gd name="connsiteX81" fmla="*/ 10300888 w 12192000"/>
              <a:gd name="connsiteY81" fmla="*/ 1345850 h 6858000"/>
              <a:gd name="connsiteX82" fmla="*/ 10428442 w 12192000"/>
              <a:gd name="connsiteY82" fmla="*/ 1224659 h 6858000"/>
              <a:gd name="connsiteX83" fmla="*/ 10300888 w 12192000"/>
              <a:gd name="connsiteY83" fmla="*/ 1103918 h 6858000"/>
              <a:gd name="connsiteX84" fmla="*/ 9340780 w 12192000"/>
              <a:gd name="connsiteY84" fmla="*/ 1103918 h 6858000"/>
              <a:gd name="connsiteX85" fmla="*/ 9211095 w 12192000"/>
              <a:gd name="connsiteY85" fmla="*/ 1226790 h 6858000"/>
              <a:gd name="connsiteX86" fmla="*/ 9337359 w 12192000"/>
              <a:gd name="connsiteY86" fmla="*/ 1345850 h 6858000"/>
              <a:gd name="connsiteX87" fmla="*/ 9461942 w 12192000"/>
              <a:gd name="connsiteY87" fmla="*/ 1271029 h 6858000"/>
              <a:gd name="connsiteX88" fmla="*/ 9376045 w 12192000"/>
              <a:gd name="connsiteY88" fmla="*/ 1271029 h 6858000"/>
              <a:gd name="connsiteX89" fmla="*/ 9342431 w 12192000"/>
              <a:gd name="connsiteY89" fmla="*/ 1289757 h 6858000"/>
              <a:gd name="connsiteX90" fmla="*/ 9300773 w 12192000"/>
              <a:gd name="connsiteY90" fmla="*/ 1244677 h 6858000"/>
              <a:gd name="connsiteX91" fmla="*/ 9469144 w 12192000"/>
              <a:gd name="connsiteY91" fmla="*/ 1244677 h 6858000"/>
              <a:gd name="connsiteX92" fmla="*/ 9469144 w 12192000"/>
              <a:gd name="connsiteY92" fmla="*/ 1239155 h 6858000"/>
              <a:gd name="connsiteX93" fmla="*/ 9340720 w 12192000"/>
              <a:gd name="connsiteY93" fmla="*/ 1103948 h 6858000"/>
              <a:gd name="connsiteX94" fmla="*/ 10936558 w 12192000"/>
              <a:gd name="connsiteY94" fmla="*/ 1103888 h 6858000"/>
              <a:gd name="connsiteX95" fmla="*/ 10806873 w 12192000"/>
              <a:gd name="connsiteY95" fmla="*/ 1226760 h 6858000"/>
              <a:gd name="connsiteX96" fmla="*/ 10933136 w 12192000"/>
              <a:gd name="connsiteY96" fmla="*/ 1345821 h 6858000"/>
              <a:gd name="connsiteX97" fmla="*/ 11057719 w 12192000"/>
              <a:gd name="connsiteY97" fmla="*/ 1270999 h 6858000"/>
              <a:gd name="connsiteX98" fmla="*/ 10971823 w 12192000"/>
              <a:gd name="connsiteY98" fmla="*/ 1270999 h 6858000"/>
              <a:gd name="connsiteX99" fmla="*/ 10938209 w 12192000"/>
              <a:gd name="connsiteY99" fmla="*/ 1289727 h 6858000"/>
              <a:gd name="connsiteX100" fmla="*/ 10896551 w 12192000"/>
              <a:gd name="connsiteY100" fmla="*/ 1244648 h 6858000"/>
              <a:gd name="connsiteX101" fmla="*/ 11064922 w 12192000"/>
              <a:gd name="connsiteY101" fmla="*/ 1244648 h 6858000"/>
              <a:gd name="connsiteX102" fmla="*/ 11064922 w 12192000"/>
              <a:gd name="connsiteY102" fmla="*/ 1239125 h 6858000"/>
              <a:gd name="connsiteX103" fmla="*/ 10936498 w 12192000"/>
              <a:gd name="connsiteY103" fmla="*/ 1103918 h 6858000"/>
              <a:gd name="connsiteX104" fmla="*/ 11328404 w 12192000"/>
              <a:gd name="connsiteY104" fmla="*/ 1029276 h 6858000"/>
              <a:gd name="connsiteX105" fmla="*/ 11320841 w 12192000"/>
              <a:gd name="connsiteY105" fmla="*/ 1036839 h 6858000"/>
              <a:gd name="connsiteX106" fmla="*/ 11320841 w 12192000"/>
              <a:gd name="connsiteY106" fmla="*/ 1092843 h 6858000"/>
              <a:gd name="connsiteX107" fmla="*/ 11328404 w 12192000"/>
              <a:gd name="connsiteY107" fmla="*/ 1100436 h 6858000"/>
              <a:gd name="connsiteX108" fmla="*/ 11384288 w 12192000"/>
              <a:gd name="connsiteY108" fmla="*/ 1100436 h 6858000"/>
              <a:gd name="connsiteX109" fmla="*/ 11391881 w 12192000"/>
              <a:gd name="connsiteY109" fmla="*/ 1092873 h 6858000"/>
              <a:gd name="connsiteX110" fmla="*/ 11391881 w 12192000"/>
              <a:gd name="connsiteY110" fmla="*/ 1036839 h 6858000"/>
              <a:gd name="connsiteX111" fmla="*/ 11384288 w 12192000"/>
              <a:gd name="connsiteY111" fmla="*/ 1029276 h 6858000"/>
              <a:gd name="connsiteX112" fmla="*/ 11429547 w 12192000"/>
              <a:gd name="connsiteY112" fmla="*/ 1029246 h 6858000"/>
              <a:gd name="connsiteX113" fmla="*/ 11421954 w 12192000"/>
              <a:gd name="connsiteY113" fmla="*/ 1036809 h 6858000"/>
              <a:gd name="connsiteX114" fmla="*/ 11421954 w 12192000"/>
              <a:gd name="connsiteY114" fmla="*/ 1163973 h 6858000"/>
              <a:gd name="connsiteX115" fmla="*/ 11429547 w 12192000"/>
              <a:gd name="connsiteY115" fmla="*/ 1171566 h 6858000"/>
              <a:gd name="connsiteX116" fmla="*/ 11556681 w 12192000"/>
              <a:gd name="connsiteY116" fmla="*/ 1171566 h 6858000"/>
              <a:gd name="connsiteX117" fmla="*/ 11564244 w 12192000"/>
              <a:gd name="connsiteY117" fmla="*/ 1163973 h 6858000"/>
              <a:gd name="connsiteX118" fmla="*/ 11564244 w 12192000"/>
              <a:gd name="connsiteY118" fmla="*/ 1036809 h 6858000"/>
              <a:gd name="connsiteX119" fmla="*/ 11556681 w 12192000"/>
              <a:gd name="connsiteY119" fmla="*/ 1029246 h 6858000"/>
              <a:gd name="connsiteX120" fmla="*/ 11257184 w 12192000"/>
              <a:gd name="connsiteY120" fmla="*/ 856823 h 6858000"/>
              <a:gd name="connsiteX121" fmla="*/ 11249591 w 12192000"/>
              <a:gd name="connsiteY121" fmla="*/ 864416 h 6858000"/>
              <a:gd name="connsiteX122" fmla="*/ 11249591 w 12192000"/>
              <a:gd name="connsiteY122" fmla="*/ 991550 h 6858000"/>
              <a:gd name="connsiteX123" fmla="*/ 11257184 w 12192000"/>
              <a:gd name="connsiteY123" fmla="*/ 999143 h 6858000"/>
              <a:gd name="connsiteX124" fmla="*/ 11384318 w 12192000"/>
              <a:gd name="connsiteY124" fmla="*/ 999143 h 6858000"/>
              <a:gd name="connsiteX125" fmla="*/ 11391911 w 12192000"/>
              <a:gd name="connsiteY125" fmla="*/ 991550 h 6858000"/>
              <a:gd name="connsiteX126" fmla="*/ 11391911 w 12192000"/>
              <a:gd name="connsiteY126" fmla="*/ 864416 h 6858000"/>
              <a:gd name="connsiteX127" fmla="*/ 11384318 w 12192000"/>
              <a:gd name="connsiteY127" fmla="*/ 856823 h 6858000"/>
              <a:gd name="connsiteX128" fmla="*/ 11429457 w 12192000"/>
              <a:gd name="connsiteY128" fmla="*/ 767925 h 6858000"/>
              <a:gd name="connsiteX129" fmla="*/ 11421864 w 12192000"/>
              <a:gd name="connsiteY129" fmla="*/ 775518 h 6858000"/>
              <a:gd name="connsiteX130" fmla="*/ 11421924 w 12192000"/>
              <a:gd name="connsiteY130" fmla="*/ 991550 h 6858000"/>
              <a:gd name="connsiteX131" fmla="*/ 11429517 w 12192000"/>
              <a:gd name="connsiteY131" fmla="*/ 999143 h 6858000"/>
              <a:gd name="connsiteX132" fmla="*/ 11645609 w 12192000"/>
              <a:gd name="connsiteY132" fmla="*/ 999143 h 6858000"/>
              <a:gd name="connsiteX133" fmla="*/ 11653202 w 12192000"/>
              <a:gd name="connsiteY133" fmla="*/ 991550 h 6858000"/>
              <a:gd name="connsiteX134" fmla="*/ 11653202 w 12192000"/>
              <a:gd name="connsiteY134" fmla="*/ 883564 h 6858000"/>
              <a:gd name="connsiteX135" fmla="*/ 11537533 w 12192000"/>
              <a:gd name="connsiteY135" fmla="*/ 767925 h 6858000"/>
              <a:gd name="connsiteX136" fmla="*/ 4860000 w 12192000"/>
              <a:gd name="connsiteY136" fmla="*/ 0 h 6858000"/>
              <a:gd name="connsiteX137" fmla="*/ 12192000 w 12192000"/>
              <a:gd name="connsiteY137" fmla="*/ 0 h 6858000"/>
              <a:gd name="connsiteX138" fmla="*/ 12192000 w 12192000"/>
              <a:gd name="connsiteY138" fmla="*/ 6858000 h 6858000"/>
              <a:gd name="connsiteX139" fmla="*/ 0 w 12192000"/>
              <a:gd name="connsiteY139" fmla="*/ 6858000 h 6858000"/>
              <a:gd name="connsiteX140" fmla="*/ 0 w 12192000"/>
              <a:gd name="connsiteY140" fmla="*/ 4644000 h 6858000"/>
              <a:gd name="connsiteX141" fmla="*/ 4860000 w 12192000"/>
              <a:gd name="connsiteY141" fmla="*/ 4644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2192000" h="6858000">
                <a:moveTo>
                  <a:pt x="10034885" y="1173187"/>
                </a:moveTo>
                <a:cubicBezTo>
                  <a:pt x="10059556" y="1173187"/>
                  <a:pt x="10071020" y="1190204"/>
                  <a:pt x="10071020" y="1225500"/>
                </a:cubicBezTo>
                <a:cubicBezTo>
                  <a:pt x="10071020" y="1260795"/>
                  <a:pt x="10058265" y="1276551"/>
                  <a:pt x="10034015" y="1276551"/>
                </a:cubicBezTo>
                <a:cubicBezTo>
                  <a:pt x="10009374" y="1276551"/>
                  <a:pt x="9997039" y="1259534"/>
                  <a:pt x="9997039" y="1225500"/>
                </a:cubicBezTo>
                <a:cubicBezTo>
                  <a:pt x="9997039" y="1189784"/>
                  <a:pt x="10008084" y="1173187"/>
                  <a:pt x="10034885" y="1173187"/>
                </a:cubicBezTo>
                <a:close/>
                <a:moveTo>
                  <a:pt x="10300888" y="1166404"/>
                </a:moveTo>
                <a:cubicBezTo>
                  <a:pt x="10328110" y="1166404"/>
                  <a:pt x="10338314" y="1184712"/>
                  <a:pt x="10338314" y="1224659"/>
                </a:cubicBezTo>
                <a:cubicBezTo>
                  <a:pt x="10338314" y="1264606"/>
                  <a:pt x="10328110" y="1283334"/>
                  <a:pt x="10300888" y="1283334"/>
                </a:cubicBezTo>
                <a:cubicBezTo>
                  <a:pt x="10273666" y="1283334"/>
                  <a:pt x="10263882" y="1264636"/>
                  <a:pt x="10263882" y="1224659"/>
                </a:cubicBezTo>
                <a:cubicBezTo>
                  <a:pt x="10263882" y="1184682"/>
                  <a:pt x="10273666" y="1166404"/>
                  <a:pt x="10300888" y="1166404"/>
                </a:cubicBezTo>
                <a:close/>
                <a:moveTo>
                  <a:pt x="9339940" y="1157461"/>
                </a:moveTo>
                <a:cubicBezTo>
                  <a:pt x="9365451" y="1157461"/>
                  <a:pt x="9379046" y="1171506"/>
                  <a:pt x="9380757" y="1199568"/>
                </a:cubicBezTo>
                <a:lnTo>
                  <a:pt x="9300833" y="1199568"/>
                </a:lnTo>
                <a:cubicBezTo>
                  <a:pt x="9302064" y="1172797"/>
                  <a:pt x="9316560" y="1157461"/>
                  <a:pt x="9339940" y="1157461"/>
                </a:cubicBezTo>
                <a:close/>
                <a:moveTo>
                  <a:pt x="10935718" y="1157431"/>
                </a:moveTo>
                <a:cubicBezTo>
                  <a:pt x="10961228" y="1157431"/>
                  <a:pt x="10974824" y="1171477"/>
                  <a:pt x="10976535" y="1199538"/>
                </a:cubicBezTo>
                <a:lnTo>
                  <a:pt x="10896611" y="1199538"/>
                </a:lnTo>
                <a:cubicBezTo>
                  <a:pt x="10897842" y="1172767"/>
                  <a:pt x="10912338" y="1157431"/>
                  <a:pt x="10935718" y="1157431"/>
                </a:cubicBezTo>
                <a:close/>
                <a:moveTo>
                  <a:pt x="10423850" y="1111961"/>
                </a:moveTo>
                <a:lnTo>
                  <a:pt x="10498282" y="1337777"/>
                </a:lnTo>
                <a:lnTo>
                  <a:pt x="10586279" y="1337777"/>
                </a:lnTo>
                <a:lnTo>
                  <a:pt x="10619053" y="1207222"/>
                </a:lnTo>
                <a:lnTo>
                  <a:pt x="10651767" y="1337777"/>
                </a:lnTo>
                <a:lnTo>
                  <a:pt x="10739794" y="1337777"/>
                </a:lnTo>
                <a:lnTo>
                  <a:pt x="10810774" y="1111961"/>
                </a:lnTo>
                <a:lnTo>
                  <a:pt x="10725358" y="1111961"/>
                </a:lnTo>
                <a:lnTo>
                  <a:pt x="10691774" y="1249750"/>
                </a:lnTo>
                <a:lnTo>
                  <a:pt x="10656899" y="1111961"/>
                </a:lnTo>
                <a:lnTo>
                  <a:pt x="10581207" y="1111961"/>
                </a:lnTo>
                <a:lnTo>
                  <a:pt x="10546332" y="1249750"/>
                </a:lnTo>
                <a:lnTo>
                  <a:pt x="10512718" y="1111961"/>
                </a:lnTo>
                <a:close/>
                <a:moveTo>
                  <a:pt x="10062497" y="1106019"/>
                </a:moveTo>
                <a:cubicBezTo>
                  <a:pt x="10030203" y="1106019"/>
                  <a:pt x="10007243" y="1116643"/>
                  <a:pt x="9989386" y="1140894"/>
                </a:cubicBezTo>
                <a:lnTo>
                  <a:pt x="9989386" y="1111961"/>
                </a:lnTo>
                <a:lnTo>
                  <a:pt x="9909882" y="1111961"/>
                </a:lnTo>
                <a:lnTo>
                  <a:pt x="9909882" y="1428325"/>
                </a:lnTo>
                <a:lnTo>
                  <a:pt x="9997039" y="1428325"/>
                </a:lnTo>
                <a:lnTo>
                  <a:pt x="9997039" y="1316498"/>
                </a:lnTo>
                <a:cubicBezTo>
                  <a:pt x="10012766" y="1336486"/>
                  <a:pt x="10033174" y="1345400"/>
                  <a:pt x="10060816" y="1345400"/>
                </a:cubicBezTo>
                <a:cubicBezTo>
                  <a:pt x="10121202" y="1345400"/>
                  <a:pt x="10160758" y="1299031"/>
                  <a:pt x="10160758" y="1225500"/>
                </a:cubicBezTo>
                <a:cubicBezTo>
                  <a:pt x="10160758" y="1151968"/>
                  <a:pt x="10119941" y="1106019"/>
                  <a:pt x="10062526" y="1106019"/>
                </a:cubicBezTo>
                <a:close/>
                <a:moveTo>
                  <a:pt x="11241367" y="1105989"/>
                </a:moveTo>
                <a:cubicBezTo>
                  <a:pt x="11204782" y="1105989"/>
                  <a:pt x="11183113" y="1120005"/>
                  <a:pt x="11171197" y="1153199"/>
                </a:cubicBezTo>
                <a:lnTo>
                  <a:pt x="11171197" y="1111931"/>
                </a:lnTo>
                <a:lnTo>
                  <a:pt x="11088272" y="1111931"/>
                </a:lnTo>
                <a:lnTo>
                  <a:pt x="11088272" y="1337747"/>
                </a:lnTo>
                <a:lnTo>
                  <a:pt x="11178401" y="1337747"/>
                </a:lnTo>
                <a:lnTo>
                  <a:pt x="11178401" y="1245068"/>
                </a:lnTo>
                <a:cubicBezTo>
                  <a:pt x="11178401" y="1210193"/>
                  <a:pt x="11194998" y="1194436"/>
                  <a:pt x="11231133" y="1194436"/>
                </a:cubicBezTo>
                <a:cubicBezTo>
                  <a:pt x="11236655" y="1194436"/>
                  <a:pt x="11242628" y="1194887"/>
                  <a:pt x="11249441" y="1195727"/>
                </a:cubicBezTo>
                <a:lnTo>
                  <a:pt x="11249441" y="1105989"/>
                </a:lnTo>
                <a:close/>
                <a:moveTo>
                  <a:pt x="9794543" y="1104818"/>
                </a:moveTo>
                <a:cubicBezTo>
                  <a:pt x="9778276" y="1104818"/>
                  <a:pt x="9763660" y="1108030"/>
                  <a:pt x="9750724" y="1114392"/>
                </a:cubicBezTo>
                <a:cubicBezTo>
                  <a:pt x="9737759" y="1120785"/>
                  <a:pt x="9725844" y="1130779"/>
                  <a:pt x="9714949" y="1144375"/>
                </a:cubicBezTo>
                <a:cubicBezTo>
                  <a:pt x="9706545" y="1130779"/>
                  <a:pt x="9697002" y="1120845"/>
                  <a:pt x="9686317" y="1114602"/>
                </a:cubicBezTo>
                <a:cubicBezTo>
                  <a:pt x="9675632" y="1108360"/>
                  <a:pt x="9662907" y="1105238"/>
                  <a:pt x="9648171" y="1105238"/>
                </a:cubicBezTo>
                <a:cubicBezTo>
                  <a:pt x="9632054" y="1105238"/>
                  <a:pt x="9617768" y="1108420"/>
                  <a:pt x="9605372" y="1114813"/>
                </a:cubicBezTo>
                <a:cubicBezTo>
                  <a:pt x="9592977" y="1121205"/>
                  <a:pt x="9581812" y="1131049"/>
                  <a:pt x="9571878" y="1144405"/>
                </a:cubicBezTo>
                <a:lnTo>
                  <a:pt x="9571878" y="1111301"/>
                </a:lnTo>
                <a:lnTo>
                  <a:pt x="9490634" y="1111301"/>
                </a:lnTo>
                <a:lnTo>
                  <a:pt x="9490634" y="1337777"/>
                </a:lnTo>
                <a:lnTo>
                  <a:pt x="9578721" y="1337777"/>
                </a:lnTo>
                <a:lnTo>
                  <a:pt x="9578721" y="1216105"/>
                </a:lnTo>
                <a:cubicBezTo>
                  <a:pt x="9578721" y="1203050"/>
                  <a:pt x="9581302" y="1193116"/>
                  <a:pt x="9586464" y="1186303"/>
                </a:cubicBezTo>
                <a:cubicBezTo>
                  <a:pt x="9591627" y="1179490"/>
                  <a:pt x="9599190" y="1176098"/>
                  <a:pt x="9609094" y="1176098"/>
                </a:cubicBezTo>
                <a:cubicBezTo>
                  <a:pt x="9620259" y="1176098"/>
                  <a:pt x="9628272" y="1179460"/>
                  <a:pt x="9633164" y="1186213"/>
                </a:cubicBezTo>
                <a:cubicBezTo>
                  <a:pt x="9638056" y="1192966"/>
                  <a:pt x="9640517" y="1204100"/>
                  <a:pt x="9640517" y="1219647"/>
                </a:cubicBezTo>
                <a:lnTo>
                  <a:pt x="9640517" y="1337777"/>
                </a:lnTo>
                <a:lnTo>
                  <a:pt x="9728184" y="1337777"/>
                </a:lnTo>
                <a:lnTo>
                  <a:pt x="9728184" y="1217366"/>
                </a:lnTo>
                <a:cubicBezTo>
                  <a:pt x="9728184" y="1203200"/>
                  <a:pt x="9730736" y="1192786"/>
                  <a:pt x="9735838" y="1186123"/>
                </a:cubicBezTo>
                <a:cubicBezTo>
                  <a:pt x="9740940" y="1179460"/>
                  <a:pt x="9748923" y="1176098"/>
                  <a:pt x="9759818" y="1176098"/>
                </a:cubicBezTo>
                <a:cubicBezTo>
                  <a:pt x="9770713" y="1176098"/>
                  <a:pt x="9778126" y="1179310"/>
                  <a:pt x="9782868" y="1185703"/>
                </a:cubicBezTo>
                <a:cubicBezTo>
                  <a:pt x="9787610" y="1192095"/>
                  <a:pt x="9790011" y="1202360"/>
                  <a:pt x="9790011" y="1216526"/>
                </a:cubicBezTo>
                <a:lnTo>
                  <a:pt x="9790011" y="1337777"/>
                </a:lnTo>
                <a:lnTo>
                  <a:pt x="9878068" y="1337777"/>
                </a:lnTo>
                <a:lnTo>
                  <a:pt x="9878068" y="1183392"/>
                </a:lnTo>
                <a:cubicBezTo>
                  <a:pt x="9878068" y="1158541"/>
                  <a:pt x="9870775" y="1139213"/>
                  <a:pt x="9856159" y="1125467"/>
                </a:cubicBezTo>
                <a:cubicBezTo>
                  <a:pt x="9841543" y="1111721"/>
                  <a:pt x="9821014" y="1104848"/>
                  <a:pt x="9794543" y="1104848"/>
                </a:cubicBezTo>
                <a:close/>
                <a:moveTo>
                  <a:pt x="10300888" y="1103918"/>
                </a:moveTo>
                <a:cubicBezTo>
                  <a:pt x="10221384" y="1103918"/>
                  <a:pt x="10173334" y="1149807"/>
                  <a:pt x="10173334" y="1224659"/>
                </a:cubicBezTo>
                <a:cubicBezTo>
                  <a:pt x="10173334" y="1299511"/>
                  <a:pt x="10221384" y="1345850"/>
                  <a:pt x="10300888" y="1345850"/>
                </a:cubicBezTo>
                <a:cubicBezTo>
                  <a:pt x="10380392" y="1345850"/>
                  <a:pt x="10428442" y="1299511"/>
                  <a:pt x="10428442" y="1224659"/>
                </a:cubicBezTo>
                <a:cubicBezTo>
                  <a:pt x="10428442" y="1149807"/>
                  <a:pt x="10380392" y="1103918"/>
                  <a:pt x="10300888" y="1103918"/>
                </a:cubicBezTo>
                <a:close/>
                <a:moveTo>
                  <a:pt x="9340780" y="1103918"/>
                </a:moveTo>
                <a:cubicBezTo>
                  <a:pt x="9260436" y="1103918"/>
                  <a:pt x="9211095" y="1151098"/>
                  <a:pt x="9211095" y="1226790"/>
                </a:cubicBezTo>
                <a:cubicBezTo>
                  <a:pt x="9211095" y="1302482"/>
                  <a:pt x="9259145" y="1345850"/>
                  <a:pt x="9337359" y="1345850"/>
                </a:cubicBezTo>
                <a:cubicBezTo>
                  <a:pt x="9407108" y="1345850"/>
                  <a:pt x="9449636" y="1319919"/>
                  <a:pt x="9461942" y="1271029"/>
                </a:cubicBezTo>
                <a:lnTo>
                  <a:pt x="9376045" y="1271029"/>
                </a:lnTo>
                <a:cubicBezTo>
                  <a:pt x="9371783" y="1282944"/>
                  <a:pt x="9359898" y="1289757"/>
                  <a:pt x="9342431" y="1289757"/>
                </a:cubicBezTo>
                <a:cubicBezTo>
                  <a:pt x="9316500" y="1289757"/>
                  <a:pt x="9301613" y="1273610"/>
                  <a:pt x="9300773" y="1244677"/>
                </a:cubicBezTo>
                <a:lnTo>
                  <a:pt x="9469144" y="1244677"/>
                </a:lnTo>
                <a:lnTo>
                  <a:pt x="9469144" y="1239155"/>
                </a:lnTo>
                <a:cubicBezTo>
                  <a:pt x="9469144" y="1154099"/>
                  <a:pt x="9420674" y="1103948"/>
                  <a:pt x="9340720" y="1103948"/>
                </a:cubicBezTo>
                <a:close/>
                <a:moveTo>
                  <a:pt x="10936558" y="1103888"/>
                </a:moveTo>
                <a:cubicBezTo>
                  <a:pt x="10856214" y="1103888"/>
                  <a:pt x="10806873" y="1151068"/>
                  <a:pt x="10806873" y="1226760"/>
                </a:cubicBezTo>
                <a:cubicBezTo>
                  <a:pt x="10806873" y="1302452"/>
                  <a:pt x="10854923" y="1345821"/>
                  <a:pt x="10933136" y="1345821"/>
                </a:cubicBezTo>
                <a:cubicBezTo>
                  <a:pt x="11002886" y="1345821"/>
                  <a:pt x="11045414" y="1319890"/>
                  <a:pt x="11057719" y="1270999"/>
                </a:cubicBezTo>
                <a:lnTo>
                  <a:pt x="10971823" y="1270999"/>
                </a:lnTo>
                <a:cubicBezTo>
                  <a:pt x="10967561" y="1282914"/>
                  <a:pt x="10955646" y="1289727"/>
                  <a:pt x="10938209" y="1289727"/>
                </a:cubicBezTo>
                <a:cubicBezTo>
                  <a:pt x="10912278" y="1289727"/>
                  <a:pt x="10897391" y="1273580"/>
                  <a:pt x="10896551" y="1244648"/>
                </a:cubicBezTo>
                <a:lnTo>
                  <a:pt x="11064922" y="1244648"/>
                </a:lnTo>
                <a:lnTo>
                  <a:pt x="11064922" y="1239125"/>
                </a:lnTo>
                <a:cubicBezTo>
                  <a:pt x="11064922" y="1154069"/>
                  <a:pt x="11016452" y="1103918"/>
                  <a:pt x="10936498" y="1103918"/>
                </a:cubicBezTo>
                <a:close/>
                <a:moveTo>
                  <a:pt x="11328404" y="1029276"/>
                </a:moveTo>
                <a:lnTo>
                  <a:pt x="11320841" y="1036839"/>
                </a:lnTo>
                <a:lnTo>
                  <a:pt x="11320841" y="1092843"/>
                </a:lnTo>
                <a:lnTo>
                  <a:pt x="11328404" y="1100436"/>
                </a:lnTo>
                <a:lnTo>
                  <a:pt x="11384288" y="1100436"/>
                </a:lnTo>
                <a:lnTo>
                  <a:pt x="11391881" y="1092873"/>
                </a:lnTo>
                <a:lnTo>
                  <a:pt x="11391881" y="1036839"/>
                </a:lnTo>
                <a:lnTo>
                  <a:pt x="11384288" y="1029276"/>
                </a:lnTo>
                <a:close/>
                <a:moveTo>
                  <a:pt x="11429547" y="1029246"/>
                </a:moveTo>
                <a:lnTo>
                  <a:pt x="11421954" y="1036809"/>
                </a:lnTo>
                <a:lnTo>
                  <a:pt x="11421954" y="1163973"/>
                </a:lnTo>
                <a:lnTo>
                  <a:pt x="11429547" y="1171566"/>
                </a:lnTo>
                <a:lnTo>
                  <a:pt x="11556681" y="1171566"/>
                </a:lnTo>
                <a:lnTo>
                  <a:pt x="11564244" y="1163973"/>
                </a:lnTo>
                <a:lnTo>
                  <a:pt x="11564244" y="1036809"/>
                </a:lnTo>
                <a:lnTo>
                  <a:pt x="11556681" y="1029246"/>
                </a:lnTo>
                <a:close/>
                <a:moveTo>
                  <a:pt x="11257184" y="856823"/>
                </a:moveTo>
                <a:lnTo>
                  <a:pt x="11249591" y="864416"/>
                </a:lnTo>
                <a:lnTo>
                  <a:pt x="11249591" y="991550"/>
                </a:lnTo>
                <a:lnTo>
                  <a:pt x="11257184" y="999143"/>
                </a:lnTo>
                <a:lnTo>
                  <a:pt x="11384318" y="999143"/>
                </a:lnTo>
                <a:lnTo>
                  <a:pt x="11391911" y="991550"/>
                </a:lnTo>
                <a:lnTo>
                  <a:pt x="11391911" y="864416"/>
                </a:lnTo>
                <a:lnTo>
                  <a:pt x="11384318" y="856823"/>
                </a:lnTo>
                <a:close/>
                <a:moveTo>
                  <a:pt x="11429457" y="767925"/>
                </a:moveTo>
                <a:lnTo>
                  <a:pt x="11421864" y="775518"/>
                </a:lnTo>
                <a:lnTo>
                  <a:pt x="11421924" y="991550"/>
                </a:lnTo>
                <a:lnTo>
                  <a:pt x="11429517" y="999143"/>
                </a:lnTo>
                <a:lnTo>
                  <a:pt x="11645609" y="999143"/>
                </a:lnTo>
                <a:lnTo>
                  <a:pt x="11653202" y="991550"/>
                </a:lnTo>
                <a:lnTo>
                  <a:pt x="11653202" y="883564"/>
                </a:lnTo>
                <a:lnTo>
                  <a:pt x="11537533" y="767925"/>
                </a:lnTo>
                <a:close/>
                <a:moveTo>
                  <a:pt x="48600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644000"/>
                </a:lnTo>
                <a:lnTo>
                  <a:pt x="4860000" y="4644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687011-3214-FD25-1181-F605A9CA6455}"/>
              </a:ext>
            </a:extLst>
          </p:cNvPr>
          <p:cNvSpPr/>
          <p:nvPr userDrawn="1"/>
        </p:nvSpPr>
        <p:spPr bwMode="white">
          <a:xfrm>
            <a:off x="0" y="-1"/>
            <a:ext cx="4876800" cy="4680000"/>
          </a:xfrm>
          <a:prstGeom prst="rect">
            <a:avLst/>
          </a:prstGeom>
          <a:gradFill flip="none" rotWithShape="1">
            <a:gsLst>
              <a:gs pos="50000">
                <a:srgbClr val="3AAEF6"/>
              </a:gs>
              <a:gs pos="100000">
                <a:srgbClr val="4F9DFD"/>
              </a:gs>
              <a:gs pos="0">
                <a:srgbClr val="04B8E2"/>
              </a:gs>
            </a:gsLst>
            <a:lin ang="18000000" scaled="0"/>
            <a:tileRect/>
          </a:gradFill>
        </p:spPr>
        <p:txBody>
          <a:bodyPr rtlCol="0" anchor="ctr"/>
          <a:lstStyle/>
          <a:p>
            <a:pPr marR="0" lvl="0" algn="ctr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endParaRPr kumimoji="0" lang="en-PT" b="0" i="0" u="none" strike="noStrike" kern="0" cap="none" spc="0" normalizeH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Squiggle">
            <a:extLst>
              <a:ext uri="{FF2B5EF4-FFF2-40B4-BE49-F238E27FC236}">
                <a16:creationId xmlns:a16="http://schemas.microsoft.com/office/drawing/2014/main" id="{18F540EF-87D8-0E44-F690-9F7604110481}"/>
              </a:ext>
            </a:extLst>
          </p:cNvPr>
          <p:cNvSpPr/>
          <p:nvPr/>
        </p:nvSpPr>
        <p:spPr>
          <a:xfrm>
            <a:off x="0" y="0"/>
            <a:ext cx="4876800" cy="4680000"/>
          </a:xfrm>
          <a:custGeom>
            <a:avLst/>
            <a:gdLst>
              <a:gd name="connsiteX0" fmla="*/ 4876800 w 4876800"/>
              <a:gd name="connsiteY0" fmla="*/ 3948026 h 4648200"/>
              <a:gd name="connsiteX1" fmla="*/ 4876800 w 4876800"/>
              <a:gd name="connsiteY1" fmla="*/ 4648200 h 4648200"/>
              <a:gd name="connsiteX2" fmla="*/ 3641772 w 4876800"/>
              <a:gd name="connsiteY2" fmla="*/ 4648200 h 4648200"/>
              <a:gd name="connsiteX3" fmla="*/ 2979537 w 4876800"/>
              <a:gd name="connsiteY3" fmla="*/ 0 h 4648200"/>
              <a:gd name="connsiteX4" fmla="*/ 4799703 w 4876800"/>
              <a:gd name="connsiteY4" fmla="*/ 0 h 4648200"/>
              <a:gd name="connsiteX5" fmla="*/ 4807781 w 4876800"/>
              <a:gd name="connsiteY5" fmla="*/ 25078 h 4648200"/>
              <a:gd name="connsiteX6" fmla="*/ 4876075 w 4876800"/>
              <a:gd name="connsiteY6" fmla="*/ 276777 h 4648200"/>
              <a:gd name="connsiteX7" fmla="*/ 4876800 w 4876800"/>
              <a:gd name="connsiteY7" fmla="*/ 279858 h 4648200"/>
              <a:gd name="connsiteX8" fmla="*/ 4876800 w 4876800"/>
              <a:gd name="connsiteY8" fmla="*/ 2099726 h 4648200"/>
              <a:gd name="connsiteX9" fmla="*/ 3571982 w 4876800"/>
              <a:gd name="connsiteY9" fmla="*/ 4648200 h 4648200"/>
              <a:gd name="connsiteX10" fmla="*/ 57811 w 4876800"/>
              <a:gd name="connsiteY10" fmla="*/ 4648200 h 4648200"/>
              <a:gd name="connsiteX11" fmla="*/ 671862 w 4876800"/>
              <a:gd name="connsiteY11" fmla="*/ 0 h 4648200"/>
              <a:gd name="connsiteX12" fmla="*/ 2817209 w 4876800"/>
              <a:gd name="connsiteY12" fmla="*/ 0 h 4648200"/>
              <a:gd name="connsiteX13" fmla="*/ 0 w 4876800"/>
              <a:gd name="connsiteY13" fmla="*/ 2583289 h 4648200"/>
              <a:gd name="connsiteX14" fmla="*/ 0 w 4876800"/>
              <a:gd name="connsiteY14" fmla="*/ 534044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76800" h="4648200">
                <a:moveTo>
                  <a:pt x="4876800" y="3948026"/>
                </a:moveTo>
                <a:lnTo>
                  <a:pt x="4876800" y="4648200"/>
                </a:lnTo>
                <a:lnTo>
                  <a:pt x="3641772" y="4648200"/>
                </a:lnTo>
                <a:close/>
                <a:moveTo>
                  <a:pt x="2979537" y="0"/>
                </a:moveTo>
                <a:lnTo>
                  <a:pt x="4799703" y="0"/>
                </a:lnTo>
                <a:lnTo>
                  <a:pt x="4807781" y="25078"/>
                </a:lnTo>
                <a:cubicBezTo>
                  <a:pt x="4831182" y="102611"/>
                  <a:pt x="4853944" y="186832"/>
                  <a:pt x="4876075" y="276777"/>
                </a:cubicBezTo>
                <a:lnTo>
                  <a:pt x="4876800" y="279858"/>
                </a:lnTo>
                <a:lnTo>
                  <a:pt x="4876800" y="2099726"/>
                </a:lnTo>
                <a:lnTo>
                  <a:pt x="3571982" y="4648200"/>
                </a:lnTo>
                <a:lnTo>
                  <a:pt x="57811" y="4648200"/>
                </a:lnTo>
                <a:close/>
                <a:moveTo>
                  <a:pt x="671862" y="0"/>
                </a:moveTo>
                <a:lnTo>
                  <a:pt x="2817209" y="0"/>
                </a:lnTo>
                <a:lnTo>
                  <a:pt x="0" y="2583289"/>
                </a:lnTo>
                <a:lnTo>
                  <a:pt x="0" y="534044"/>
                </a:lnTo>
                <a:close/>
              </a:path>
            </a:pathLst>
          </a:custGeom>
          <a:gradFill>
            <a:gsLst>
              <a:gs pos="100000">
                <a:srgbClr val="399BF5"/>
              </a:gs>
              <a:gs pos="0">
                <a:srgbClr val="26A4EE"/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3200" tIns="203200" rIns="203200" bIns="203200" rtlCol="0" anchor="ctr">
            <a:noAutofit/>
          </a:bodyPr>
          <a:lstStyle/>
          <a:p>
            <a:pPr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50800" y="3061072"/>
            <a:ext cx="3454400" cy="1016000"/>
          </a:xfrm>
          <a:prstGeom prst="rect">
            <a:avLst/>
          </a:prstGeom>
        </p:spPr>
        <p:txBody>
          <a:bodyPr anchor="t"/>
          <a:lstStyle>
            <a:lvl1pPr marL="0" indent="0" algn="l" defTabSz="203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4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00" y="838824"/>
            <a:ext cx="3454400" cy="2123658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lang="de-DE" sz="4600" b="0" i="0" spc="0" baseline="0" dirty="0">
                <a:solidFill>
                  <a:schemeClr val="bg1"/>
                </a:solidFill>
                <a:latin typeface="+mj-lt"/>
                <a:cs typeface="Segoe UI Semi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4611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8ADB95D0-F1C8-516C-6D3E-5C2A67CD6FA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838799"/>
            <a:ext cx="3454399" cy="26416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lIns="608400" tIns="608400" rIns="152400" bIns="101600" rtlCol="0" anchor="b">
            <a:noAutofit/>
          </a:bodyPr>
          <a:lstStyle>
            <a:lvl1pPr>
              <a:defRPr lang="en-US" sz="17600" b="0" i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16300"/>
              </a:lnSpc>
            </a:pPr>
            <a:r>
              <a:rPr lang="en-US" dirty="0"/>
              <a:t>##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DD6E394-341A-C7EB-4850-A929E45D2FD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454400" y="838799"/>
            <a:ext cx="5760000" cy="2641601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</p:spPr>
        <p:txBody>
          <a:bodyPr vert="horz" wrap="square" lIns="180000" tIns="203200" rIns="609600" bIns="508000" rtlCol="0" anchor="ctr" anchorCtr="0">
            <a:noAutofit/>
          </a:bodyPr>
          <a:lstStyle>
            <a:lvl1pPr>
              <a:defRPr lang="de-DE" noProof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</a:t>
            </a:r>
            <a:br>
              <a:rPr lang="en-GB" noProof="0" dirty="0"/>
            </a:br>
            <a:r>
              <a:rPr lang="en-GB" noProof="0" dirty="0"/>
              <a:t>style</a:t>
            </a:r>
            <a:endParaRPr lang="de-DE" noProof="0" dirty="0"/>
          </a:p>
        </p:txBody>
      </p:sp>
      <p:sp>
        <p:nvSpPr>
          <p:cNvPr id="2" name="Squiggle">
            <a:extLst>
              <a:ext uri="{FF2B5EF4-FFF2-40B4-BE49-F238E27FC236}">
                <a16:creationId xmlns:a16="http://schemas.microsoft.com/office/drawing/2014/main" id="{DA7DA6EC-09E1-11A5-67EA-0003DB3D8188}"/>
              </a:ext>
            </a:extLst>
          </p:cNvPr>
          <p:cNvSpPr/>
          <p:nvPr userDrawn="1"/>
        </p:nvSpPr>
        <p:spPr>
          <a:xfrm>
            <a:off x="4469108" y="1921894"/>
            <a:ext cx="7722892" cy="4936106"/>
          </a:xfrm>
          <a:custGeom>
            <a:avLst/>
            <a:gdLst>
              <a:gd name="connsiteX0" fmla="*/ 7722892 w 7722892"/>
              <a:gd name="connsiteY0" fmla="*/ 0 h 4936106"/>
              <a:gd name="connsiteX1" fmla="*/ 7722892 w 7722892"/>
              <a:gd name="connsiteY1" fmla="*/ 4936106 h 4936106"/>
              <a:gd name="connsiteX2" fmla="*/ 4028035 w 7722892"/>
              <a:gd name="connsiteY2" fmla="*/ 4936106 h 4936106"/>
              <a:gd name="connsiteX3" fmla="*/ 4213446 w 7722892"/>
              <a:gd name="connsiteY3" fmla="*/ 4745486 h 4936106"/>
              <a:gd name="connsiteX4" fmla="*/ 7696388 w 7722892"/>
              <a:gd name="connsiteY4" fmla="*/ 1189056 h 4936106"/>
              <a:gd name="connsiteX5" fmla="*/ 2431301 w 7722892"/>
              <a:gd name="connsiteY5" fmla="*/ 4862088 h 4936106"/>
              <a:gd name="connsiteX6" fmla="*/ 2343839 w 7722892"/>
              <a:gd name="connsiteY6" fmla="*/ 4936106 h 4936106"/>
              <a:gd name="connsiteX7" fmla="*/ 0 w 7722892"/>
              <a:gd name="connsiteY7" fmla="*/ 4936106 h 4936106"/>
              <a:gd name="connsiteX8" fmla="*/ 527048 w 7722892"/>
              <a:gd name="connsiteY8" fmla="*/ 4550069 h 4936106"/>
              <a:gd name="connsiteX9" fmla="*/ 4050037 w 7722892"/>
              <a:gd name="connsiteY9" fmla="*/ 2135268 h 4936106"/>
              <a:gd name="connsiteX10" fmla="*/ 7225501 w 7722892"/>
              <a:gd name="connsiteY10" fmla="*/ 250346 h 493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2892" h="4936106">
                <a:moveTo>
                  <a:pt x="7722892" y="0"/>
                </a:moveTo>
                <a:lnTo>
                  <a:pt x="7722892" y="4936106"/>
                </a:lnTo>
                <a:lnTo>
                  <a:pt x="4028035" y="4936106"/>
                </a:lnTo>
                <a:lnTo>
                  <a:pt x="4213446" y="4745486"/>
                </a:lnTo>
                <a:cubicBezTo>
                  <a:pt x="5210634" y="3707422"/>
                  <a:pt x="5165016" y="3562023"/>
                  <a:pt x="7696388" y="1189056"/>
                </a:cubicBezTo>
                <a:cubicBezTo>
                  <a:pt x="6288912" y="1580617"/>
                  <a:pt x="3398340" y="4042914"/>
                  <a:pt x="2431301" y="4862088"/>
                </a:cubicBezTo>
                <a:lnTo>
                  <a:pt x="2343839" y="4936106"/>
                </a:lnTo>
                <a:lnTo>
                  <a:pt x="0" y="4936106"/>
                </a:lnTo>
                <a:lnTo>
                  <a:pt x="527048" y="4550069"/>
                </a:lnTo>
                <a:cubicBezTo>
                  <a:pt x="1752272" y="3658893"/>
                  <a:pt x="2835460" y="2916104"/>
                  <a:pt x="4050037" y="2135268"/>
                </a:cubicBezTo>
                <a:cubicBezTo>
                  <a:pt x="5124695" y="1510766"/>
                  <a:pt x="6069990" y="855825"/>
                  <a:pt x="7225501" y="250346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7200" tIns="97200" rIns="97200" bIns="97200" rtlCol="0" anchor="ctr">
            <a:noAutofit/>
          </a:bodyPr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" name="Additional Element concept" hidden="1">
            <a:extLst>
              <a:ext uri="{FF2B5EF4-FFF2-40B4-BE49-F238E27FC236}">
                <a16:creationId xmlns:a16="http://schemas.microsoft.com/office/drawing/2014/main" id="{3CAB6135-C290-663C-9345-16E108620336}"/>
              </a:ext>
            </a:extLst>
          </p:cNvPr>
          <p:cNvGrpSpPr/>
          <p:nvPr/>
        </p:nvGrpSpPr>
        <p:grpSpPr>
          <a:xfrm>
            <a:off x="609600" y="76200"/>
            <a:ext cx="10972800" cy="6705600"/>
            <a:chOff x="609600" y="76200"/>
            <a:chExt cx="10972800" cy="6705600"/>
          </a:xfrm>
        </p:grpSpPr>
        <p:sp>
          <p:nvSpPr>
            <p:cNvPr id="665" name="Page / Seite Nennfeld" hidden="1">
              <a:extLst>
                <a:ext uri="{FF2B5EF4-FFF2-40B4-BE49-F238E27FC236}">
                  <a16:creationId xmlns:a16="http://schemas.microsoft.com/office/drawing/2014/main" id="{7CD9DD86-11AE-049F-4411-63D077925911}"/>
                </a:ext>
              </a:extLst>
            </p:cNvPr>
            <p:cNvSpPr/>
            <p:nvPr/>
          </p:nvSpPr>
          <p:spPr>
            <a:xfrm>
              <a:off x="10160000" y="6578600"/>
              <a:ext cx="1219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Page / </a:t>
              </a:r>
              <a:r>
                <a:rPr lang="en-US" sz="900" baseline="0" dirty="0" err="1">
                  <a:solidFill>
                    <a:schemeClr val="tx1"/>
                  </a:solidFill>
                </a:rPr>
                <a:t>Seite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66" name="Confidential Field" hidden="1">
              <a:extLst>
                <a:ext uri="{FF2B5EF4-FFF2-40B4-BE49-F238E27FC236}">
                  <a16:creationId xmlns:a16="http://schemas.microsoft.com/office/drawing/2014/main" id="{ADE8244B-C860-A752-2444-B6AE0E542F15}"/>
                </a:ext>
              </a:extLst>
            </p:cNvPr>
            <p:cNvSpPr/>
            <p:nvPr/>
          </p:nvSpPr>
          <p:spPr>
            <a:xfrm>
              <a:off x="4470400" y="6578600"/>
              <a:ext cx="3251200" cy="203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 dirty="0">
                  <a:solidFill>
                    <a:schemeClr val="tx1"/>
                  </a:solidFill>
                </a:rPr>
                <a:t>Confidential</a:t>
              </a:r>
            </a:p>
          </p:txBody>
        </p:sp>
        <p:sp>
          <p:nvSpPr>
            <p:cNvPr id="669" name="Footnote" hidden="1">
              <a:extLst>
                <a:ext uri="{FF2B5EF4-FFF2-40B4-BE49-F238E27FC236}">
                  <a16:creationId xmlns:a16="http://schemas.microsoft.com/office/drawing/2014/main" id="{2F0FFB9C-ECFB-EAB1-4C0A-6FF74BCA4EA9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09600" y="6324600"/>
              <a:ext cx="91440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Footnote/Source: Insert information here</a:t>
              </a:r>
              <a:endParaRPr lang="en-US" altLang="ko-KR" sz="900" kern="0" dirty="0"/>
            </a:p>
          </p:txBody>
        </p:sp>
        <p:sp>
          <p:nvSpPr>
            <p:cNvPr id="670" name="Breadrump" hidden="1">
              <a:extLst>
                <a:ext uri="{FF2B5EF4-FFF2-40B4-BE49-F238E27FC236}">
                  <a16:creationId xmlns:a16="http://schemas.microsoft.com/office/drawing/2014/main" id="{3EA69488-F646-6AB9-FF03-F551E769852D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09600" y="76200"/>
              <a:ext cx="5486400" cy="20320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noAutofit/>
            </a:bodyPr>
            <a:lstStyle/>
            <a:p>
              <a:pPr eaLnBrk="0" hangingPunct="0">
                <a:lnSpc>
                  <a:spcPts val="1200"/>
                </a:lnSpc>
                <a:buClr>
                  <a:schemeClr val="accent2"/>
                </a:buClr>
                <a:buFont typeface="Wingdings" pitchFamily="2" charset="2"/>
                <a:buNone/>
                <a:defRPr/>
              </a:pPr>
              <a:r>
                <a:rPr lang="en-US" altLang="ko-KR" sz="900" kern="0"/>
                <a:t>Breadcrump/ Navigation</a:t>
              </a:r>
              <a:endParaRPr lang="en-US" altLang="ko-KR" sz="900" kern="0" dirty="0"/>
            </a:p>
          </p:txBody>
        </p:sp>
        <p:sp>
          <p:nvSpPr>
            <p:cNvPr id="671" name="Stamp" hidden="1">
              <a:extLst>
                <a:ext uri="{FF2B5EF4-FFF2-40B4-BE49-F238E27FC236}">
                  <a16:creationId xmlns:a16="http://schemas.microsoft.com/office/drawing/2014/main" id="{00FF0B6B-AF42-66E6-E533-D258D7A6F6A6}"/>
                </a:ext>
              </a:extLst>
            </p:cNvPr>
            <p:cNvSpPr/>
            <p:nvPr/>
          </p:nvSpPr>
          <p:spPr>
            <a:xfrm>
              <a:off x="10160000" y="6273800"/>
              <a:ext cx="1422400" cy="30480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 defTabSz="203200">
                <a:lnSpc>
                  <a:spcPts val="1200"/>
                </a:lnSpc>
                <a:spcAft>
                  <a:spcPts val="400"/>
                </a:spcAft>
              </a:pPr>
              <a:r>
                <a:rPr lang="en-US" sz="900" baseline="0">
                  <a:solidFill>
                    <a:schemeClr val="tx1"/>
                  </a:solidFill>
                </a:rPr>
                <a:t>Stamp</a:t>
              </a:r>
              <a:endParaRPr lang="en-US" sz="900" baseline="0" dirty="0">
                <a:solidFill>
                  <a:schemeClr val="tx1"/>
                </a:solidFill>
              </a:endParaRPr>
            </a:p>
          </p:txBody>
        </p:sp>
        <p:sp>
          <p:nvSpPr>
            <p:cNvPr id="672" name="Subtitle" hidden="1">
              <a:extLst>
                <a:ext uri="{FF2B5EF4-FFF2-40B4-BE49-F238E27FC236}">
                  <a16:creationId xmlns:a16="http://schemas.microsoft.com/office/drawing/2014/main" id="{7F921553-F921-5C2D-93C0-0AD5E0633E08}"/>
                </a:ext>
              </a:extLst>
            </p:cNvPr>
            <p:cNvSpPr txBox="1"/>
            <p:nvPr/>
          </p:nvSpPr>
          <p:spPr>
            <a:xfrm>
              <a:off x="609600" y="990600"/>
              <a:ext cx="9144000" cy="609600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ts val="3200"/>
                </a:lnSpc>
                <a:spcBef>
                  <a:spcPts val="0"/>
                </a:spcBef>
                <a:spcAft>
                  <a:spcPts val="1600"/>
                </a:spcAft>
              </a:pPr>
              <a:r>
                <a:rPr lang="en-US" sz="2400" b="0" i="0" u="none" baseline="0">
                  <a:solidFill>
                    <a:schemeClr val="tx1"/>
                  </a:solidFill>
                </a:rPr>
                <a:t>Subtitle</a:t>
              </a:r>
              <a:endParaRPr lang="en-US" sz="2400" b="0" i="0" u="none" baseline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9" name="Grid Support" hidden="1">
            <a:extLst>
              <a:ext uri="{FF2B5EF4-FFF2-40B4-BE49-F238E27FC236}">
                <a16:creationId xmlns:a16="http://schemas.microsoft.com/office/drawing/2014/main" id="{3FC3C060-626A-8DA3-5705-2484FEC01CB9}"/>
              </a:ext>
            </a:extLst>
          </p:cNvPr>
          <p:cNvGrpSpPr/>
          <p:nvPr/>
        </p:nvGrpSpPr>
        <p:grpSpPr>
          <a:xfrm>
            <a:off x="-355600" y="-330200"/>
            <a:ext cx="12344400" cy="7112000"/>
            <a:chOff x="-355600" y="-330200"/>
            <a:chExt cx="12344400" cy="7112000"/>
          </a:xfrm>
        </p:grpSpPr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0CFD96D7-F7B5-142F-EAE5-D5F9F2FDBA5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9" name="Straight Connector 538">
              <a:extLst>
                <a:ext uri="{FF2B5EF4-FFF2-40B4-BE49-F238E27FC236}">
                  <a16:creationId xmlns:a16="http://schemas.microsoft.com/office/drawing/2014/main" id="{93331221-5891-F22B-9F08-47C0C7EFF474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8FEB61DE-45BD-3922-7B29-B2F82EDCF557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6F040774-B3E2-327F-8228-FABA92804614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1B16B9D2-E67B-9BF5-B72C-0B2E23F28594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66C23595-8A8F-45BD-CF53-7F7710DC2A6C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E2788A33-1A09-CE11-1894-7EC10E5D8178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0E61A20A-A2C4-25A4-1AA7-1102AE8F3091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7656E82D-EFB5-8016-F7CD-C0A4DB1B004E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293A0ADB-DA88-9B06-BAC5-17329C9EAC90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1F59ACCC-FD64-918D-366A-5542B4BA550C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40ACAE32-50B6-C70C-0F52-5F5380042B5B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A7FF8456-C360-6D94-F32E-794DEB3B6724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06CF12CE-84A0-9E99-1624-69658645935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735CC67A-A18F-8FD4-9970-F34FC5C6F24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F3357DD9-6F01-67C5-B320-67F664F641F4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CA33B3A5-F75F-8D28-BA5B-E41A87A18616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5" name="Straight Connector 554">
              <a:extLst>
                <a:ext uri="{FF2B5EF4-FFF2-40B4-BE49-F238E27FC236}">
                  <a16:creationId xmlns:a16="http://schemas.microsoft.com/office/drawing/2014/main" id="{E0D02517-0B0D-B225-B7AF-7BAF2152A122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8D06E266-C205-032D-0645-E190D504C1A0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9D0657A7-D706-9062-85D2-D025DE8F8C11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4F2F43BA-6928-67CB-C74E-A71348D93D31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71CA8D1-91D8-ADA9-A053-31B219F8C7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9625713D-65A9-F3F2-4B72-605481BC580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6C0B6D21-1494-A9D8-22A5-38FE6EEE9A2F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4E732CF3-B199-FD77-B7D5-0243115D2CD5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761F265-49ED-52D2-6332-0E82EAD4C9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9D967D66-07B9-A192-15E7-012E074CB12C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BA139CE2-F936-A4C0-5A31-74541FC268BD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A06217BC-A172-8826-5B1A-1815842DFB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-330200"/>
              <a:ext cx="0" cy="2540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4D5739CD-2EFA-DF52-32B2-AA6C209D294C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EA3FD892-82CF-FD02-2480-825A51776510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70C8D3E-5A6F-3A23-4E0C-A52288113B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70661C4C-8175-B216-7221-D54CF1B4FCBE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AF1955BD-A748-756E-D7ED-B2D35A39AB2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4574CF1F-0C89-73FD-EC23-7E46DA1F08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F131D6EB-5F2C-A5BB-E98C-547D82245228}"/>
                </a:ext>
              </a:extLst>
            </p:cNvPr>
            <p:cNvCxnSpPr>
              <a:cxnSpLocks/>
            </p:cNvCxnSpPr>
            <p:nvPr/>
          </p:nvCxnSpPr>
          <p:spPr>
            <a:xfrm>
              <a:off x="78232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5247B6BA-7C8A-995A-C56A-489017203A7C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C1D0666E-E92D-2534-33FC-81B3D5B33E9D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-228600"/>
              <a:ext cx="0" cy="1524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6E9A317-3C78-6F86-E665-ECD03079B65E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025B8986-9FC6-ADA6-9B02-BEA16E3E3B57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EB9090C4-9FA5-AB1E-1962-BF022AC67E6E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A7DC5E42-5B1E-9A04-F9D0-89C6F53D8279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048F7F9E-8A1E-6060-2317-2EEC3AA72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-1778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B46B0057-F922-3010-085B-DD33BBCA160B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8FDFD816-2C93-7063-8D10-DF1602BCEA59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4AD4558-CA13-F998-C692-CFA442B98CF3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EF5866EF-C47C-64B0-EF93-CD27EC61CE92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3A1DF5E2-1545-3752-0600-9F57DF24C442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A8813E6-4FFB-5BA0-5D87-EAB56660D152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ACEECC28-0027-CF92-5878-E95F5C531126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CAA365F0-E71C-6AC3-F1A8-D703D8ED27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53B3DCC7-EE6F-40AC-D98D-A51C8E0217B7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1B780AD5-F3B4-F31D-71D6-2E7ACD15B884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A8DFB9D-F39D-52EA-3CA5-F90754515AE0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2DC8CB96-FC71-067C-1772-D404679BE65B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-279400"/>
              <a:ext cx="0" cy="2032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E448E3B-686D-F2E7-BE93-1A348BAA56B2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02A84058-B93F-7838-ED54-63279616A24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8FD5D376-90F3-B3D0-734B-F29027A31096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97E5D813-8AA6-6DA7-A49C-BE58F1B34337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>
              <a:extLst>
                <a:ext uri="{FF2B5EF4-FFF2-40B4-BE49-F238E27FC236}">
                  <a16:creationId xmlns:a16="http://schemas.microsoft.com/office/drawing/2014/main" id="{5D236085-90A1-DB70-640B-8E472222F4BA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398FF3E4-1ED1-8D51-B1F2-66042B748C20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-330200"/>
              <a:ext cx="0" cy="101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6095E940-A401-0721-34C9-8A40518FB516}"/>
                </a:ext>
              </a:extLst>
            </p:cNvPr>
            <p:cNvCxnSpPr/>
            <p:nvPr/>
          </p:nvCxnSpPr>
          <p:spPr>
            <a:xfrm>
              <a:off x="-152400" y="279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6E0C91D8-2789-586B-850C-2B6AF75AB3F1}"/>
                </a:ext>
              </a:extLst>
            </p:cNvPr>
            <p:cNvCxnSpPr/>
            <p:nvPr/>
          </p:nvCxnSpPr>
          <p:spPr>
            <a:xfrm>
              <a:off x="-152400" y="78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C65BC6F8-6D5E-878E-30A0-8BFB97EB3A35}"/>
                </a:ext>
              </a:extLst>
            </p:cNvPr>
            <p:cNvCxnSpPr/>
            <p:nvPr/>
          </p:nvCxnSpPr>
          <p:spPr>
            <a:xfrm>
              <a:off x="-152400" y="58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7CD01F2C-CFA1-AF3A-E462-F3DFEB7BA6B5}"/>
                </a:ext>
              </a:extLst>
            </p:cNvPr>
            <p:cNvCxnSpPr/>
            <p:nvPr/>
          </p:nvCxnSpPr>
          <p:spPr>
            <a:xfrm>
              <a:off x="-2032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6A28F8B8-71B2-2C78-10FE-14714828B9F8}"/>
                </a:ext>
              </a:extLst>
            </p:cNvPr>
            <p:cNvCxnSpPr/>
            <p:nvPr/>
          </p:nvCxnSpPr>
          <p:spPr>
            <a:xfrm>
              <a:off x="-152400" y="99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6" name="Straight Connector 605">
              <a:extLst>
                <a:ext uri="{FF2B5EF4-FFF2-40B4-BE49-F238E27FC236}">
                  <a16:creationId xmlns:a16="http://schemas.microsoft.com/office/drawing/2014/main" id="{0B0E6785-BFF6-C9ED-0DF6-4D1FC08D9759}"/>
                </a:ext>
              </a:extLst>
            </p:cNvPr>
            <p:cNvCxnSpPr/>
            <p:nvPr/>
          </p:nvCxnSpPr>
          <p:spPr>
            <a:xfrm>
              <a:off x="-152400" y="1193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2357CEA0-6726-6883-57BD-F7A9866DE9D6}"/>
                </a:ext>
              </a:extLst>
            </p:cNvPr>
            <p:cNvCxnSpPr/>
            <p:nvPr/>
          </p:nvCxnSpPr>
          <p:spPr>
            <a:xfrm>
              <a:off x="-2032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53A14786-7EC7-851B-C041-476BECB84CCF}"/>
                </a:ext>
              </a:extLst>
            </p:cNvPr>
            <p:cNvCxnSpPr/>
            <p:nvPr/>
          </p:nvCxnSpPr>
          <p:spPr>
            <a:xfrm>
              <a:off x="-2032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C0C88909-E77C-DBD7-A2B9-028D5D0044E7}"/>
                </a:ext>
              </a:extLst>
            </p:cNvPr>
            <p:cNvCxnSpPr/>
            <p:nvPr/>
          </p:nvCxnSpPr>
          <p:spPr>
            <a:xfrm>
              <a:off x="-152400" y="1803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BCAB399B-CF8A-776E-E826-738F3118AE13}"/>
                </a:ext>
              </a:extLst>
            </p:cNvPr>
            <p:cNvCxnSpPr/>
            <p:nvPr/>
          </p:nvCxnSpPr>
          <p:spPr>
            <a:xfrm>
              <a:off x="-152400" y="2006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868DC6BD-9FBB-1286-9464-F8F2D67D59FC}"/>
                </a:ext>
              </a:extLst>
            </p:cNvPr>
            <p:cNvCxnSpPr/>
            <p:nvPr/>
          </p:nvCxnSpPr>
          <p:spPr>
            <a:xfrm>
              <a:off x="-152400" y="2209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1E25D695-C1C9-EEEC-CDA3-44D6E5F34E77}"/>
                </a:ext>
              </a:extLst>
            </p:cNvPr>
            <p:cNvCxnSpPr/>
            <p:nvPr/>
          </p:nvCxnSpPr>
          <p:spPr>
            <a:xfrm>
              <a:off x="-152400" y="2413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D2AA6A8C-8B7C-BEC1-612C-95079A552131}"/>
                </a:ext>
              </a:extLst>
            </p:cNvPr>
            <p:cNvCxnSpPr/>
            <p:nvPr/>
          </p:nvCxnSpPr>
          <p:spPr>
            <a:xfrm>
              <a:off x="-203200" y="2616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7926D3C4-502F-6EB2-103F-7BB89C56D324}"/>
                </a:ext>
              </a:extLst>
            </p:cNvPr>
            <p:cNvCxnSpPr/>
            <p:nvPr/>
          </p:nvCxnSpPr>
          <p:spPr>
            <a:xfrm>
              <a:off x="-203200" y="2819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03F5467B-FE3D-54F0-2824-E3089A1941E5}"/>
                </a:ext>
              </a:extLst>
            </p:cNvPr>
            <p:cNvCxnSpPr/>
            <p:nvPr/>
          </p:nvCxnSpPr>
          <p:spPr>
            <a:xfrm>
              <a:off x="-254000" y="30226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C9639B25-595E-6A2F-66DE-AAEE14F51126}"/>
                </a:ext>
              </a:extLst>
            </p:cNvPr>
            <p:cNvCxnSpPr/>
            <p:nvPr/>
          </p:nvCxnSpPr>
          <p:spPr>
            <a:xfrm>
              <a:off x="-254000" y="32258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8E825E18-1B62-5390-7448-2A1060D38A41}"/>
                </a:ext>
              </a:extLst>
            </p:cNvPr>
            <p:cNvCxnSpPr/>
            <p:nvPr/>
          </p:nvCxnSpPr>
          <p:spPr>
            <a:xfrm>
              <a:off x="-152400" y="3429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C47ACFEC-CFA8-DCC6-1DBA-0B99F8F7F19B}"/>
                </a:ext>
              </a:extLst>
            </p:cNvPr>
            <p:cNvCxnSpPr/>
            <p:nvPr/>
          </p:nvCxnSpPr>
          <p:spPr>
            <a:xfrm>
              <a:off x="-152400" y="3632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EFE363C0-E0EE-758A-D7D7-44C3A27B037B}"/>
                </a:ext>
              </a:extLst>
            </p:cNvPr>
            <p:cNvCxnSpPr/>
            <p:nvPr/>
          </p:nvCxnSpPr>
          <p:spPr>
            <a:xfrm>
              <a:off x="-2032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1256F036-4A4D-1E9E-1A5F-DCC19044319F}"/>
                </a:ext>
              </a:extLst>
            </p:cNvPr>
            <p:cNvCxnSpPr/>
            <p:nvPr/>
          </p:nvCxnSpPr>
          <p:spPr>
            <a:xfrm>
              <a:off x="-2032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3686432-DD24-E167-2715-EC8E69A77B28}"/>
                </a:ext>
              </a:extLst>
            </p:cNvPr>
            <p:cNvCxnSpPr/>
            <p:nvPr/>
          </p:nvCxnSpPr>
          <p:spPr>
            <a:xfrm>
              <a:off x="-152400" y="424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0E0CAE4F-0E99-E72E-1016-56A9182C682B}"/>
                </a:ext>
              </a:extLst>
            </p:cNvPr>
            <p:cNvCxnSpPr/>
            <p:nvPr/>
          </p:nvCxnSpPr>
          <p:spPr>
            <a:xfrm>
              <a:off x="-152400" y="4445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53336AC3-6DDB-86F9-9A7D-257ACB7989DC}"/>
                </a:ext>
              </a:extLst>
            </p:cNvPr>
            <p:cNvCxnSpPr/>
            <p:nvPr/>
          </p:nvCxnSpPr>
          <p:spPr>
            <a:xfrm>
              <a:off x="-254000" y="46482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CCB74389-CC92-2002-D402-1DBBBED7A822}"/>
                </a:ext>
              </a:extLst>
            </p:cNvPr>
            <p:cNvCxnSpPr/>
            <p:nvPr/>
          </p:nvCxnSpPr>
          <p:spPr>
            <a:xfrm>
              <a:off x="-254000" y="4851400"/>
              <a:ext cx="1524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9BBA4A47-0FBB-01B7-12C2-8E1753941A49}"/>
                </a:ext>
              </a:extLst>
            </p:cNvPr>
            <p:cNvCxnSpPr/>
            <p:nvPr/>
          </p:nvCxnSpPr>
          <p:spPr>
            <a:xfrm>
              <a:off x="-203200" y="5054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D004C5B6-F03D-5DE8-E68F-3AE4F793E861}"/>
                </a:ext>
              </a:extLst>
            </p:cNvPr>
            <p:cNvCxnSpPr/>
            <p:nvPr/>
          </p:nvCxnSpPr>
          <p:spPr>
            <a:xfrm>
              <a:off x="-203200" y="5257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09051E2F-A7DB-6C7D-0E17-A29B16B9BB68}"/>
                </a:ext>
              </a:extLst>
            </p:cNvPr>
            <p:cNvCxnSpPr/>
            <p:nvPr/>
          </p:nvCxnSpPr>
          <p:spPr>
            <a:xfrm>
              <a:off x="-152400" y="54610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D8ABCA41-6CE5-722F-3067-3FA5B8D5156F}"/>
                </a:ext>
              </a:extLst>
            </p:cNvPr>
            <p:cNvCxnSpPr/>
            <p:nvPr/>
          </p:nvCxnSpPr>
          <p:spPr>
            <a:xfrm>
              <a:off x="-152400" y="5664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C699AE77-E204-CCB9-6118-A68AC4B33AF0}"/>
                </a:ext>
              </a:extLst>
            </p:cNvPr>
            <p:cNvCxnSpPr/>
            <p:nvPr/>
          </p:nvCxnSpPr>
          <p:spPr>
            <a:xfrm>
              <a:off x="-152400" y="58674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943A7C8-4C94-7FCC-1742-27A7BF9F6FD5}"/>
                </a:ext>
              </a:extLst>
            </p:cNvPr>
            <p:cNvCxnSpPr/>
            <p:nvPr/>
          </p:nvCxnSpPr>
          <p:spPr>
            <a:xfrm>
              <a:off x="-152400" y="6070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50947452-EAD0-668A-3E77-1BFEF1BCD581}"/>
                </a:ext>
              </a:extLst>
            </p:cNvPr>
            <p:cNvCxnSpPr/>
            <p:nvPr/>
          </p:nvCxnSpPr>
          <p:spPr>
            <a:xfrm>
              <a:off x="-2032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DD31B4FC-0FE7-431E-CE7F-ED39AD1508FB}"/>
                </a:ext>
              </a:extLst>
            </p:cNvPr>
            <p:cNvCxnSpPr/>
            <p:nvPr/>
          </p:nvCxnSpPr>
          <p:spPr>
            <a:xfrm>
              <a:off x="-152400" y="6324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37ADBB6-7460-DD0C-6040-C5E47275159B}"/>
                </a:ext>
              </a:extLst>
            </p:cNvPr>
            <p:cNvCxnSpPr/>
            <p:nvPr/>
          </p:nvCxnSpPr>
          <p:spPr>
            <a:xfrm>
              <a:off x="-152400" y="6527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CA595009-CD54-1B6B-8D9F-1DA04B8E7841}"/>
                </a:ext>
              </a:extLst>
            </p:cNvPr>
            <p:cNvCxnSpPr/>
            <p:nvPr/>
          </p:nvCxnSpPr>
          <p:spPr>
            <a:xfrm>
              <a:off x="-152400" y="65786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2B179F18-9FE2-E498-58DC-9875FF47D48B}"/>
                </a:ext>
              </a:extLst>
            </p:cNvPr>
            <p:cNvCxnSpPr/>
            <p:nvPr/>
          </p:nvCxnSpPr>
          <p:spPr>
            <a:xfrm>
              <a:off x="-152400" y="67818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970919A-9CD5-C0CC-0267-42EC5559928D}"/>
                </a:ext>
              </a:extLst>
            </p:cNvPr>
            <p:cNvCxnSpPr/>
            <p:nvPr/>
          </p:nvCxnSpPr>
          <p:spPr>
            <a:xfrm>
              <a:off x="-355600" y="38354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2B963BD9-92DF-FF13-F685-D4599E73BB97}"/>
                </a:ext>
              </a:extLst>
            </p:cNvPr>
            <p:cNvCxnSpPr/>
            <p:nvPr/>
          </p:nvCxnSpPr>
          <p:spPr>
            <a:xfrm>
              <a:off x="-355600" y="40386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1BC2CFB2-3A2B-4C75-4E77-438BCB0F3F8C}"/>
                </a:ext>
              </a:extLst>
            </p:cNvPr>
            <p:cNvCxnSpPr/>
            <p:nvPr/>
          </p:nvCxnSpPr>
          <p:spPr>
            <a:xfrm>
              <a:off x="-355600" y="62738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42772E8F-76CC-2C6C-3660-BF3ABB87B872}"/>
                </a:ext>
              </a:extLst>
            </p:cNvPr>
            <p:cNvCxnSpPr/>
            <p:nvPr/>
          </p:nvCxnSpPr>
          <p:spPr>
            <a:xfrm>
              <a:off x="-152400" y="76200"/>
              <a:ext cx="508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6E3632F8-F2E3-25C9-690B-C73DF4FA8534}"/>
                </a:ext>
              </a:extLst>
            </p:cNvPr>
            <p:cNvCxnSpPr/>
            <p:nvPr/>
          </p:nvCxnSpPr>
          <p:spPr>
            <a:xfrm>
              <a:off x="-355600" y="16002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A100E2E5-AD1D-B3D4-D7BD-BE18B05825D3}"/>
                </a:ext>
              </a:extLst>
            </p:cNvPr>
            <p:cNvCxnSpPr/>
            <p:nvPr/>
          </p:nvCxnSpPr>
          <p:spPr>
            <a:xfrm>
              <a:off x="-355600" y="1397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515AD02-D8EC-1249-38CB-5BEF1ADA3C86}"/>
                </a:ext>
              </a:extLst>
            </p:cNvPr>
            <p:cNvCxnSpPr/>
            <p:nvPr/>
          </p:nvCxnSpPr>
          <p:spPr>
            <a:xfrm>
              <a:off x="-355600" y="381000"/>
              <a:ext cx="101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2EEECE57-6126-4DDB-25E2-A496262849CC}"/>
                </a:ext>
              </a:extLst>
            </p:cNvPr>
            <p:cNvCxnSpPr/>
            <p:nvPr/>
          </p:nvCxnSpPr>
          <p:spPr>
            <a:xfrm>
              <a:off x="-355600" y="3937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A33CD08E-3D5F-E423-EA6C-41CDB09E4946}"/>
                </a:ext>
              </a:extLst>
            </p:cNvPr>
            <p:cNvCxnSpPr/>
            <p:nvPr/>
          </p:nvCxnSpPr>
          <p:spPr>
            <a:xfrm>
              <a:off x="-355600" y="889000"/>
              <a:ext cx="2540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2F4A3ECA-2825-7826-2925-38F6857BBA9D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FAA54607-9340-DF57-EEED-6A94B812CBD4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-127000"/>
              <a:ext cx="0" cy="508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7" name="Grid Structure 4pt/8px" hidden="1">
            <a:extLst>
              <a:ext uri="{FF2B5EF4-FFF2-40B4-BE49-F238E27FC236}">
                <a16:creationId xmlns:a16="http://schemas.microsoft.com/office/drawing/2014/main" id="{17F06CAB-5E70-ED5E-6F69-21DB28F66836}"/>
              </a:ext>
            </a:extLst>
          </p:cNvPr>
          <p:cNvGrpSpPr/>
          <p:nvPr/>
        </p:nvGrpSpPr>
        <p:grpSpPr>
          <a:xfrm>
            <a:off x="203200" y="76200"/>
            <a:ext cx="11785600" cy="6705600"/>
            <a:chOff x="203200" y="76200"/>
            <a:chExt cx="11785600" cy="6705600"/>
          </a:xfrm>
        </p:grpSpPr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34D2403A-9E8C-5C39-9611-5C6026E28FE0}"/>
                </a:ext>
              </a:extLst>
            </p:cNvPr>
            <p:cNvCxnSpPr/>
            <p:nvPr/>
          </p:nvCxnSpPr>
          <p:spPr>
            <a:xfrm>
              <a:off x="203200" y="7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DB2C721B-E9C3-23FE-71DC-76B704DAC12B}"/>
                </a:ext>
              </a:extLst>
            </p:cNvPr>
            <p:cNvCxnSpPr/>
            <p:nvPr/>
          </p:nvCxnSpPr>
          <p:spPr>
            <a:xfrm>
              <a:off x="203200" y="27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973E380C-48CF-9EE2-F928-02CDC3F93EE7}"/>
                </a:ext>
              </a:extLst>
            </p:cNvPr>
            <p:cNvCxnSpPr/>
            <p:nvPr/>
          </p:nvCxnSpPr>
          <p:spPr>
            <a:xfrm>
              <a:off x="203200" y="38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29DCF932-F4D4-35CD-05D5-670C57F85362}"/>
                </a:ext>
              </a:extLst>
            </p:cNvPr>
            <p:cNvCxnSpPr/>
            <p:nvPr/>
          </p:nvCxnSpPr>
          <p:spPr>
            <a:xfrm>
              <a:off x="203200" y="58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B2A616B-0A95-F02E-1394-F50ED1398D37}"/>
                </a:ext>
              </a:extLst>
            </p:cNvPr>
            <p:cNvCxnSpPr/>
            <p:nvPr/>
          </p:nvCxnSpPr>
          <p:spPr>
            <a:xfrm>
              <a:off x="203200" y="78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F9F49583-8544-EB28-23CE-B0CF778FF2BD}"/>
                </a:ext>
              </a:extLst>
            </p:cNvPr>
            <p:cNvCxnSpPr/>
            <p:nvPr/>
          </p:nvCxnSpPr>
          <p:spPr>
            <a:xfrm>
              <a:off x="203200" y="99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41439CB3-66B0-E8F9-2591-4F7439CF740A}"/>
                </a:ext>
              </a:extLst>
            </p:cNvPr>
            <p:cNvCxnSpPr/>
            <p:nvPr/>
          </p:nvCxnSpPr>
          <p:spPr>
            <a:xfrm>
              <a:off x="203200" y="119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DF61535-212C-C58C-8B29-40971B689923}"/>
                </a:ext>
              </a:extLst>
            </p:cNvPr>
            <p:cNvCxnSpPr/>
            <p:nvPr/>
          </p:nvCxnSpPr>
          <p:spPr>
            <a:xfrm>
              <a:off x="203200" y="1397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EF6A89FF-8A54-3A74-8A1B-B23FB10155FB}"/>
                </a:ext>
              </a:extLst>
            </p:cNvPr>
            <p:cNvCxnSpPr/>
            <p:nvPr/>
          </p:nvCxnSpPr>
          <p:spPr>
            <a:xfrm>
              <a:off x="203200" y="1600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27BBE4AB-FAD5-25D7-6297-9CF0776FBD98}"/>
                </a:ext>
              </a:extLst>
            </p:cNvPr>
            <p:cNvCxnSpPr/>
            <p:nvPr/>
          </p:nvCxnSpPr>
          <p:spPr>
            <a:xfrm>
              <a:off x="203200" y="1803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792D44F9-651A-7FA3-BDA6-E43F0D8A9471}"/>
                </a:ext>
              </a:extLst>
            </p:cNvPr>
            <p:cNvCxnSpPr/>
            <p:nvPr/>
          </p:nvCxnSpPr>
          <p:spPr>
            <a:xfrm>
              <a:off x="203200" y="2006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60BA471E-F499-8522-CD48-AFA1D4E83673}"/>
                </a:ext>
              </a:extLst>
            </p:cNvPr>
            <p:cNvCxnSpPr/>
            <p:nvPr/>
          </p:nvCxnSpPr>
          <p:spPr>
            <a:xfrm>
              <a:off x="203200" y="2209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D789B9C6-F8F0-DEFD-64EB-74D0D6BAF9E6}"/>
                </a:ext>
              </a:extLst>
            </p:cNvPr>
            <p:cNvCxnSpPr/>
            <p:nvPr/>
          </p:nvCxnSpPr>
          <p:spPr>
            <a:xfrm>
              <a:off x="203200" y="2413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9325D9C7-1B5D-D0E6-DF87-C4C8303C6328}"/>
                </a:ext>
              </a:extLst>
            </p:cNvPr>
            <p:cNvCxnSpPr/>
            <p:nvPr/>
          </p:nvCxnSpPr>
          <p:spPr>
            <a:xfrm>
              <a:off x="203200" y="2616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6F084FA9-52CB-AD53-5B86-1F0C239A027A}"/>
                </a:ext>
              </a:extLst>
            </p:cNvPr>
            <p:cNvCxnSpPr/>
            <p:nvPr/>
          </p:nvCxnSpPr>
          <p:spPr>
            <a:xfrm>
              <a:off x="203200" y="2819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78F30CD4-E679-DC02-8845-4673D27994CC}"/>
                </a:ext>
              </a:extLst>
            </p:cNvPr>
            <p:cNvCxnSpPr/>
            <p:nvPr/>
          </p:nvCxnSpPr>
          <p:spPr>
            <a:xfrm>
              <a:off x="203200" y="3022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2822B735-342B-6378-47A1-E6BF0984D43E}"/>
                </a:ext>
              </a:extLst>
            </p:cNvPr>
            <p:cNvCxnSpPr/>
            <p:nvPr/>
          </p:nvCxnSpPr>
          <p:spPr>
            <a:xfrm>
              <a:off x="203200" y="3225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047EFC56-4DF0-98C3-DBAE-E795B1347AEB}"/>
                </a:ext>
              </a:extLst>
            </p:cNvPr>
            <p:cNvCxnSpPr/>
            <p:nvPr/>
          </p:nvCxnSpPr>
          <p:spPr>
            <a:xfrm>
              <a:off x="203200" y="3429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22DA30F6-A256-98B0-1B9C-CF0C6DC2BFBA}"/>
                </a:ext>
              </a:extLst>
            </p:cNvPr>
            <p:cNvCxnSpPr/>
            <p:nvPr/>
          </p:nvCxnSpPr>
          <p:spPr>
            <a:xfrm>
              <a:off x="203200" y="3632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769C8018-70D7-6528-AD45-C9684836981D}"/>
                </a:ext>
              </a:extLst>
            </p:cNvPr>
            <p:cNvCxnSpPr/>
            <p:nvPr/>
          </p:nvCxnSpPr>
          <p:spPr>
            <a:xfrm>
              <a:off x="203200" y="3835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2B97A86-4C6E-D712-EA4E-0C883F81556E}"/>
                </a:ext>
              </a:extLst>
            </p:cNvPr>
            <p:cNvCxnSpPr/>
            <p:nvPr/>
          </p:nvCxnSpPr>
          <p:spPr>
            <a:xfrm>
              <a:off x="203200" y="403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9AB33D42-8F07-D766-B1B1-ED59E94B8B39}"/>
                </a:ext>
              </a:extLst>
            </p:cNvPr>
            <p:cNvCxnSpPr/>
            <p:nvPr/>
          </p:nvCxnSpPr>
          <p:spPr>
            <a:xfrm>
              <a:off x="203200" y="424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33B8ADB1-5989-ECCE-B214-C609E488B875}"/>
                </a:ext>
              </a:extLst>
            </p:cNvPr>
            <p:cNvCxnSpPr/>
            <p:nvPr/>
          </p:nvCxnSpPr>
          <p:spPr>
            <a:xfrm>
              <a:off x="203200" y="4445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73647A78-2465-BE80-4CB2-11438AD4FED6}"/>
                </a:ext>
              </a:extLst>
            </p:cNvPr>
            <p:cNvCxnSpPr/>
            <p:nvPr/>
          </p:nvCxnSpPr>
          <p:spPr>
            <a:xfrm>
              <a:off x="203200" y="4648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A2477A41-ADB5-CED9-4A7B-D346C6AD359D}"/>
                </a:ext>
              </a:extLst>
            </p:cNvPr>
            <p:cNvCxnSpPr/>
            <p:nvPr/>
          </p:nvCxnSpPr>
          <p:spPr>
            <a:xfrm>
              <a:off x="203200" y="4851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242F2E7F-9FD7-109D-37C7-F851609A5320}"/>
                </a:ext>
              </a:extLst>
            </p:cNvPr>
            <p:cNvCxnSpPr/>
            <p:nvPr/>
          </p:nvCxnSpPr>
          <p:spPr>
            <a:xfrm>
              <a:off x="203200" y="505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3F6DC466-B938-9EDF-E341-74FA121D5179}"/>
                </a:ext>
              </a:extLst>
            </p:cNvPr>
            <p:cNvCxnSpPr/>
            <p:nvPr/>
          </p:nvCxnSpPr>
          <p:spPr>
            <a:xfrm>
              <a:off x="203200" y="525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2673C885-1424-6CBF-6BD6-6CAC4F06E93B}"/>
                </a:ext>
              </a:extLst>
            </p:cNvPr>
            <p:cNvCxnSpPr/>
            <p:nvPr/>
          </p:nvCxnSpPr>
          <p:spPr>
            <a:xfrm>
              <a:off x="203200" y="54610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ABBDB58E-425F-B64B-DC02-69BAAD5537FA}"/>
                </a:ext>
              </a:extLst>
            </p:cNvPr>
            <p:cNvCxnSpPr/>
            <p:nvPr/>
          </p:nvCxnSpPr>
          <p:spPr>
            <a:xfrm>
              <a:off x="203200" y="56642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FBC55815-9925-C582-5129-ADDA959FF884}"/>
                </a:ext>
              </a:extLst>
            </p:cNvPr>
            <p:cNvCxnSpPr/>
            <p:nvPr/>
          </p:nvCxnSpPr>
          <p:spPr>
            <a:xfrm>
              <a:off x="203200" y="58674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1FFA8E8D-9DDC-4AE6-3E6E-E068D354B41A}"/>
                </a:ext>
              </a:extLst>
            </p:cNvPr>
            <p:cNvCxnSpPr/>
            <p:nvPr/>
          </p:nvCxnSpPr>
          <p:spPr>
            <a:xfrm>
              <a:off x="203200" y="6070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6C6198D9-BB30-B546-0FD7-708F6CFD4E05}"/>
                </a:ext>
              </a:extLst>
            </p:cNvPr>
            <p:cNvCxnSpPr/>
            <p:nvPr/>
          </p:nvCxnSpPr>
          <p:spPr>
            <a:xfrm>
              <a:off x="203200" y="6273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3AC2CC8-37DD-6D32-0FC0-7E8185FF308E}"/>
                </a:ext>
              </a:extLst>
            </p:cNvPr>
            <p:cNvCxnSpPr/>
            <p:nvPr/>
          </p:nvCxnSpPr>
          <p:spPr>
            <a:xfrm>
              <a:off x="203200" y="6324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76C1BBB-1155-6BCB-A830-6FC97BF80614}"/>
                </a:ext>
              </a:extLst>
            </p:cNvPr>
            <p:cNvCxnSpPr/>
            <p:nvPr/>
          </p:nvCxnSpPr>
          <p:spPr>
            <a:xfrm>
              <a:off x="203200" y="6527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D7FF3F20-114F-31D4-0B8D-6A8C8084C69B}"/>
                </a:ext>
              </a:extLst>
            </p:cNvPr>
            <p:cNvCxnSpPr/>
            <p:nvPr/>
          </p:nvCxnSpPr>
          <p:spPr>
            <a:xfrm>
              <a:off x="203200" y="65786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3C119390-FC50-2B5E-E8CC-904165BC0158}"/>
                </a:ext>
              </a:extLst>
            </p:cNvPr>
            <p:cNvCxnSpPr/>
            <p:nvPr/>
          </p:nvCxnSpPr>
          <p:spPr>
            <a:xfrm>
              <a:off x="203200" y="6781800"/>
              <a:ext cx="11785600" cy="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F1FD15E1-63FC-CDC5-3B2D-4779E73850D6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6D4C5821-B091-7194-C6C7-7C279C06B58A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FBE23AC3-99BE-3FF2-67F3-681E6E54976F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B92814F5-800B-7D26-DC1A-128AB3465438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3094ABCC-D198-1C19-F99C-A49242D8E61D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3" name="Straight Connector 482">
              <a:extLst>
                <a:ext uri="{FF2B5EF4-FFF2-40B4-BE49-F238E27FC236}">
                  <a16:creationId xmlns:a16="http://schemas.microsoft.com/office/drawing/2014/main" id="{4594A92A-CFD7-9B15-3E05-F6D3FC132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1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699B5588-6A21-A6DC-5265-2F6A694EA99E}"/>
                </a:ext>
              </a:extLst>
            </p:cNvPr>
            <p:cNvCxnSpPr>
              <a:cxnSpLocks/>
            </p:cNvCxnSpPr>
            <p:nvPr/>
          </p:nvCxnSpPr>
          <p:spPr>
            <a:xfrm>
              <a:off x="142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15C6FF81-886C-85A3-74F3-FEA2D65411D9}"/>
                </a:ext>
              </a:extLst>
            </p:cNvPr>
            <p:cNvCxnSpPr>
              <a:cxnSpLocks/>
            </p:cNvCxnSpPr>
            <p:nvPr/>
          </p:nvCxnSpPr>
          <p:spPr>
            <a:xfrm>
              <a:off x="162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14435E9C-200D-C9D5-1C3E-84D7842FD739}"/>
                </a:ext>
              </a:extLst>
            </p:cNvPr>
            <p:cNvCxnSpPr>
              <a:cxnSpLocks/>
            </p:cNvCxnSpPr>
            <p:nvPr/>
          </p:nvCxnSpPr>
          <p:spPr>
            <a:xfrm>
              <a:off x="182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08C70336-CFF1-73E3-CC20-FF0B5F4F1B08}"/>
                </a:ext>
              </a:extLst>
            </p:cNvPr>
            <p:cNvCxnSpPr>
              <a:cxnSpLocks/>
            </p:cNvCxnSpPr>
            <p:nvPr/>
          </p:nvCxnSpPr>
          <p:spPr>
            <a:xfrm>
              <a:off x="203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90A9784-2128-3739-6828-0464B87B24B5}"/>
                </a:ext>
              </a:extLst>
            </p:cNvPr>
            <p:cNvCxnSpPr>
              <a:cxnSpLocks/>
            </p:cNvCxnSpPr>
            <p:nvPr/>
          </p:nvCxnSpPr>
          <p:spPr>
            <a:xfrm>
              <a:off x="223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7F6BBCAE-59FA-C39F-D856-F6C1B99357BD}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7AE90AF-F2B3-2D98-9573-69E42B4F1180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DD87DF0D-4B14-EAC2-7B33-EE2A7BBD2540}"/>
                </a:ext>
              </a:extLst>
            </p:cNvPr>
            <p:cNvCxnSpPr>
              <a:cxnSpLocks/>
            </p:cNvCxnSpPr>
            <p:nvPr/>
          </p:nvCxnSpPr>
          <p:spPr>
            <a:xfrm>
              <a:off x="284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1C50DBD5-B054-E2EF-8BD4-151AB42071B8}"/>
                </a:ext>
              </a:extLst>
            </p:cNvPr>
            <p:cNvCxnSpPr>
              <a:cxnSpLocks/>
            </p:cNvCxnSpPr>
            <p:nvPr/>
          </p:nvCxnSpPr>
          <p:spPr>
            <a:xfrm>
              <a:off x="304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4E2CDB4B-50EF-38DF-F894-51B55B068145}"/>
                </a:ext>
              </a:extLst>
            </p:cNvPr>
            <p:cNvCxnSpPr>
              <a:cxnSpLocks/>
            </p:cNvCxnSpPr>
            <p:nvPr/>
          </p:nvCxnSpPr>
          <p:spPr>
            <a:xfrm>
              <a:off x="325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C2B26D99-A049-647A-1B17-8A034D6FE107}"/>
                </a:ext>
              </a:extLst>
            </p:cNvPr>
            <p:cNvCxnSpPr>
              <a:cxnSpLocks/>
            </p:cNvCxnSpPr>
            <p:nvPr/>
          </p:nvCxnSpPr>
          <p:spPr>
            <a:xfrm>
              <a:off x="345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0ADE33D8-68EC-0B06-EF7C-DDDEBFFCF026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8C975F1D-58DB-1F73-820F-063341C8B3A4}"/>
                </a:ext>
              </a:extLst>
            </p:cNvPr>
            <p:cNvCxnSpPr>
              <a:cxnSpLocks/>
            </p:cNvCxnSpPr>
            <p:nvPr/>
          </p:nvCxnSpPr>
          <p:spPr>
            <a:xfrm>
              <a:off x="386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A1720D14-CD68-4EF7-8D92-430AFCF6E707}"/>
                </a:ext>
              </a:extLst>
            </p:cNvPr>
            <p:cNvCxnSpPr>
              <a:cxnSpLocks/>
            </p:cNvCxnSpPr>
            <p:nvPr/>
          </p:nvCxnSpPr>
          <p:spPr>
            <a:xfrm>
              <a:off x="406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B3377738-122A-6110-7977-82DEC19ECB3F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F8B67FA9-22C4-3435-7DBA-841F642507D1}"/>
                </a:ext>
              </a:extLst>
            </p:cNvPr>
            <p:cNvCxnSpPr>
              <a:cxnSpLocks/>
            </p:cNvCxnSpPr>
            <p:nvPr/>
          </p:nvCxnSpPr>
          <p:spPr>
            <a:xfrm>
              <a:off x="447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AA91DADF-F35A-8A55-9981-16E8F7F5B810}"/>
                </a:ext>
              </a:extLst>
            </p:cNvPr>
            <p:cNvCxnSpPr>
              <a:cxnSpLocks/>
            </p:cNvCxnSpPr>
            <p:nvPr/>
          </p:nvCxnSpPr>
          <p:spPr>
            <a:xfrm>
              <a:off x="467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143CF3EC-1756-8096-44F1-4764812323D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59E4C6F-BE3A-7877-DAD8-5A486EFDE192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9AF57447-A323-C2EB-F5B2-D550B7A461A7}"/>
                </a:ext>
              </a:extLst>
            </p:cNvPr>
            <p:cNvCxnSpPr>
              <a:cxnSpLocks/>
            </p:cNvCxnSpPr>
            <p:nvPr/>
          </p:nvCxnSpPr>
          <p:spPr>
            <a:xfrm>
              <a:off x="528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0E5BD1EB-7705-B5A1-1493-C52EA398107A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A8AA8222-A9C9-71B0-8874-95D6EDADCD98}"/>
                </a:ext>
              </a:extLst>
            </p:cNvPr>
            <p:cNvCxnSpPr>
              <a:cxnSpLocks/>
            </p:cNvCxnSpPr>
            <p:nvPr/>
          </p:nvCxnSpPr>
          <p:spPr>
            <a:xfrm>
              <a:off x="568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6" name="Straight Connector 505">
              <a:extLst>
                <a:ext uri="{FF2B5EF4-FFF2-40B4-BE49-F238E27FC236}">
                  <a16:creationId xmlns:a16="http://schemas.microsoft.com/office/drawing/2014/main" id="{073D880D-CD09-CBB4-16BA-2A8E87CD9D84}"/>
                </a:ext>
              </a:extLst>
            </p:cNvPr>
            <p:cNvCxnSpPr>
              <a:cxnSpLocks/>
            </p:cNvCxnSpPr>
            <p:nvPr/>
          </p:nvCxnSpPr>
          <p:spPr>
            <a:xfrm>
              <a:off x="589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812866F3-44A8-3CEA-28D9-7AF496C04A2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F419295E-CDDB-9E97-8F28-F903EFD03208}"/>
                </a:ext>
              </a:extLst>
            </p:cNvPr>
            <p:cNvCxnSpPr>
              <a:cxnSpLocks/>
            </p:cNvCxnSpPr>
            <p:nvPr/>
          </p:nvCxnSpPr>
          <p:spPr>
            <a:xfrm>
              <a:off x="629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54B7287C-0431-4B10-1E6B-22F8C128B338}"/>
                </a:ext>
              </a:extLst>
            </p:cNvPr>
            <p:cNvCxnSpPr>
              <a:cxnSpLocks/>
            </p:cNvCxnSpPr>
            <p:nvPr/>
          </p:nvCxnSpPr>
          <p:spPr>
            <a:xfrm>
              <a:off x="650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3FE9B0CE-F112-12DC-9291-B7C599F9031F}"/>
                </a:ext>
              </a:extLst>
            </p:cNvPr>
            <p:cNvCxnSpPr>
              <a:cxnSpLocks/>
            </p:cNvCxnSpPr>
            <p:nvPr/>
          </p:nvCxnSpPr>
          <p:spPr>
            <a:xfrm>
              <a:off x="670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AC7A6729-E1FF-ADA9-5404-512BB851730C}"/>
                </a:ext>
              </a:extLst>
            </p:cNvPr>
            <p:cNvCxnSpPr>
              <a:cxnSpLocks/>
            </p:cNvCxnSpPr>
            <p:nvPr/>
          </p:nvCxnSpPr>
          <p:spPr>
            <a:xfrm>
              <a:off x="690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2E124A38-8DB4-882E-F91D-8E5F0F19E790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387D883A-C569-9048-1102-2A4481F19B37}"/>
                </a:ext>
              </a:extLst>
            </p:cNvPr>
            <p:cNvCxnSpPr>
              <a:cxnSpLocks/>
            </p:cNvCxnSpPr>
            <p:nvPr/>
          </p:nvCxnSpPr>
          <p:spPr>
            <a:xfrm>
              <a:off x="7315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64162DA4-1950-A179-F2ED-B50E9BA48A08}"/>
                </a:ext>
              </a:extLst>
            </p:cNvPr>
            <p:cNvCxnSpPr>
              <a:cxnSpLocks/>
            </p:cNvCxnSpPr>
            <p:nvPr/>
          </p:nvCxnSpPr>
          <p:spPr>
            <a:xfrm>
              <a:off x="7518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7C8E0EA5-3EEA-1117-A686-2B01DA6D3C17}"/>
                </a:ext>
              </a:extLst>
            </p:cNvPr>
            <p:cNvCxnSpPr>
              <a:cxnSpLocks/>
            </p:cNvCxnSpPr>
            <p:nvPr/>
          </p:nvCxnSpPr>
          <p:spPr>
            <a:xfrm>
              <a:off x="7721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Straight Connector 515">
              <a:extLst>
                <a:ext uri="{FF2B5EF4-FFF2-40B4-BE49-F238E27FC236}">
                  <a16:creationId xmlns:a16="http://schemas.microsoft.com/office/drawing/2014/main" id="{57F3E21D-0683-5C73-B975-533264440FC3}"/>
                </a:ext>
              </a:extLst>
            </p:cNvPr>
            <p:cNvCxnSpPr>
              <a:cxnSpLocks/>
            </p:cNvCxnSpPr>
            <p:nvPr/>
          </p:nvCxnSpPr>
          <p:spPr>
            <a:xfrm>
              <a:off x="7924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92F73360-9F43-3272-F218-F6DD824E0191}"/>
                </a:ext>
              </a:extLst>
            </p:cNvPr>
            <p:cNvCxnSpPr>
              <a:cxnSpLocks/>
            </p:cNvCxnSpPr>
            <p:nvPr/>
          </p:nvCxnSpPr>
          <p:spPr>
            <a:xfrm>
              <a:off x="8128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0815A90B-9FFC-73FD-6C29-20CCE6A75CCC}"/>
                </a:ext>
              </a:extLst>
            </p:cNvPr>
            <p:cNvCxnSpPr>
              <a:cxnSpLocks/>
            </p:cNvCxnSpPr>
            <p:nvPr/>
          </p:nvCxnSpPr>
          <p:spPr>
            <a:xfrm>
              <a:off x="8331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>
              <a:extLst>
                <a:ext uri="{FF2B5EF4-FFF2-40B4-BE49-F238E27FC236}">
                  <a16:creationId xmlns:a16="http://schemas.microsoft.com/office/drawing/2014/main" id="{B9889978-8E24-F29B-3969-0C902E4E8981}"/>
                </a:ext>
              </a:extLst>
            </p:cNvPr>
            <p:cNvCxnSpPr>
              <a:cxnSpLocks/>
            </p:cNvCxnSpPr>
            <p:nvPr/>
          </p:nvCxnSpPr>
          <p:spPr>
            <a:xfrm>
              <a:off x="8534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2ACD9AF2-6775-D81E-67C6-3FAE3A84D2F0}"/>
                </a:ext>
              </a:extLst>
            </p:cNvPr>
            <p:cNvCxnSpPr>
              <a:cxnSpLocks/>
            </p:cNvCxnSpPr>
            <p:nvPr/>
          </p:nvCxnSpPr>
          <p:spPr>
            <a:xfrm>
              <a:off x="8737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>
              <a:extLst>
                <a:ext uri="{FF2B5EF4-FFF2-40B4-BE49-F238E27FC236}">
                  <a16:creationId xmlns:a16="http://schemas.microsoft.com/office/drawing/2014/main" id="{A24E4C60-5323-F4AE-D168-9648B906A0FE}"/>
                </a:ext>
              </a:extLst>
            </p:cNvPr>
            <p:cNvCxnSpPr>
              <a:cxnSpLocks/>
            </p:cNvCxnSpPr>
            <p:nvPr/>
          </p:nvCxnSpPr>
          <p:spPr>
            <a:xfrm>
              <a:off x="8940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E50AB0FC-534C-D3DB-E0BD-D115C26EAEF6}"/>
                </a:ext>
              </a:extLst>
            </p:cNvPr>
            <p:cNvCxnSpPr>
              <a:cxnSpLocks/>
            </p:cNvCxnSpPr>
            <p:nvPr/>
          </p:nvCxnSpPr>
          <p:spPr>
            <a:xfrm>
              <a:off x="9144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F52C71A5-BAD9-6299-F2CC-A3092D8AF72C}"/>
                </a:ext>
              </a:extLst>
            </p:cNvPr>
            <p:cNvCxnSpPr>
              <a:cxnSpLocks/>
            </p:cNvCxnSpPr>
            <p:nvPr/>
          </p:nvCxnSpPr>
          <p:spPr>
            <a:xfrm>
              <a:off x="9347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958DA808-DB1C-A5DF-786E-35DA879E01B2}"/>
                </a:ext>
              </a:extLst>
            </p:cNvPr>
            <p:cNvCxnSpPr>
              <a:cxnSpLocks/>
            </p:cNvCxnSpPr>
            <p:nvPr/>
          </p:nvCxnSpPr>
          <p:spPr>
            <a:xfrm>
              <a:off x="9550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0D2A8C18-9FE8-4DB1-5D24-938D1CBE0532}"/>
                </a:ext>
              </a:extLst>
            </p:cNvPr>
            <p:cNvCxnSpPr>
              <a:cxnSpLocks/>
            </p:cNvCxnSpPr>
            <p:nvPr/>
          </p:nvCxnSpPr>
          <p:spPr>
            <a:xfrm>
              <a:off x="9753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1FE3DA7-A8A6-A2AA-0244-F8D144F2DFE4}"/>
                </a:ext>
              </a:extLst>
            </p:cNvPr>
            <p:cNvCxnSpPr>
              <a:cxnSpLocks/>
            </p:cNvCxnSpPr>
            <p:nvPr/>
          </p:nvCxnSpPr>
          <p:spPr>
            <a:xfrm>
              <a:off x="9956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7A0DDFF9-3FDE-2371-6A58-6817E418C63E}"/>
                </a:ext>
              </a:extLst>
            </p:cNvPr>
            <p:cNvCxnSpPr>
              <a:cxnSpLocks/>
            </p:cNvCxnSpPr>
            <p:nvPr/>
          </p:nvCxnSpPr>
          <p:spPr>
            <a:xfrm>
              <a:off x="10160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1056F508-FEDC-9851-D9E6-680BFAE3442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3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EA7FC7C6-6083-F3E9-DA92-FD5975FDE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566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0938D311-D0F9-2FE8-416D-8A0E4AEE52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69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Straight Connector 530">
              <a:extLst>
                <a:ext uri="{FF2B5EF4-FFF2-40B4-BE49-F238E27FC236}">
                  <a16:creationId xmlns:a16="http://schemas.microsoft.com/office/drawing/2014/main" id="{89DC6F78-7566-B6EC-D723-6968A570FA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72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04F4395C-D536-7412-DA27-27CB4D046A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760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A56B4B0D-3455-81B5-8078-7B59160A4A7E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2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71C11C32-989E-46E1-81D3-E3540A5E1417}"/>
                </a:ext>
              </a:extLst>
            </p:cNvPr>
            <p:cNvCxnSpPr>
              <a:cxnSpLocks/>
            </p:cNvCxnSpPr>
            <p:nvPr/>
          </p:nvCxnSpPr>
          <p:spPr>
            <a:xfrm>
              <a:off x="115824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B7FB739-3C16-D6AE-B634-448D38364454}"/>
                </a:ext>
              </a:extLst>
            </p:cNvPr>
            <p:cNvCxnSpPr>
              <a:cxnSpLocks/>
            </p:cNvCxnSpPr>
            <p:nvPr/>
          </p:nvCxnSpPr>
          <p:spPr>
            <a:xfrm>
              <a:off x="117856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001067A1-DCFF-A844-2E14-B8C932B38B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88800" y="76200"/>
              <a:ext cx="0" cy="6705600"/>
            </a:xfrm>
            <a:prstGeom prst="line">
              <a:avLst/>
            </a:prstGeom>
            <a:ln w="12700">
              <a:solidFill>
                <a:srgbClr val="7B7B7B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9" name="Master Title Placeholder">
            <a:extLst>
              <a:ext uri="{FF2B5EF4-FFF2-40B4-BE49-F238E27FC236}">
                <a16:creationId xmlns:a16="http://schemas.microsoft.com/office/drawing/2014/main" id="{C5F0EFB3-EE4E-0B07-F454-E6D44406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332768"/>
            <a:ext cx="11088001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r>
              <a:rPr lang="en-US"/>
              <a:t>This is the title in 36pt</a:t>
            </a:r>
            <a:endParaRPr lang="en-US" dirty="0"/>
          </a:p>
        </p:txBody>
      </p:sp>
      <p:sp>
        <p:nvSpPr>
          <p:cNvPr id="2" name="empower - DO NOT DELETE!!!">
            <a:extLst>
              <a:ext uri="{FF2B5EF4-FFF2-40B4-BE49-F238E27FC236}">
                <a16:creationId xmlns:a16="http://schemas.microsoft.com/office/drawing/2014/main" id="{978CAA9E-CAAE-E314-D023-855631DDB452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lvl="0" algn="ctr" defTabSz="486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3702D8-C787-BB6D-E660-FE3EF595572A}"/>
              </a:ext>
            </a:extLst>
          </p:cNvPr>
          <p:cNvSpPr txBox="1">
            <a:spLocks/>
          </p:cNvSpPr>
          <p:nvPr/>
        </p:nvSpPr>
        <p:spPr>
          <a:xfrm>
            <a:off x="11233601" y="6525344"/>
            <a:ext cx="406400" cy="1415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28EFE765-FF9D-4A30-9EA2-0EADEF4E4456}" type="slidenum">
              <a:rPr lang="en-US"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#›</a:t>
            </a:fld>
            <a:endParaRPr lang="en-US" sz="9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D2F2F-07C4-15CA-080C-498BFCC40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000" y="1700808"/>
            <a:ext cx="11088001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Body heading blue</a:t>
            </a:r>
          </a:p>
          <a:p>
            <a:pPr lvl="5"/>
            <a:r>
              <a:rPr lang="en-US" dirty="0"/>
              <a:t>Body heading light blue</a:t>
            </a:r>
          </a:p>
          <a:p>
            <a:pPr lvl="6"/>
            <a:r>
              <a:rPr lang="en-US" dirty="0"/>
              <a:t>Numbered</a:t>
            </a:r>
          </a:p>
          <a:p>
            <a:pPr lvl="7"/>
            <a:r>
              <a:rPr lang="en-US" dirty="0"/>
              <a:t>Numbered sub</a:t>
            </a:r>
          </a:p>
          <a:p>
            <a:pPr lvl="8"/>
            <a:r>
              <a:rPr lang="en-US" dirty="0"/>
              <a:t>Ninth level similar to subtitle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E20D2EC-CDD4-6ACF-993E-65381BD1BF6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3200" tIns="203200" rIns="203200" bIns="203200" rtlCol="0" anchor="ctr"/>
          <a:lstStyle/>
          <a:p>
            <a:pPr algn="ctr" defTabSz="486000">
              <a:lnSpc>
                <a:spcPct val="100000"/>
              </a:lnSpc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10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3" r:id="rId5"/>
    <p:sldLayoutId id="2147483782" r:id="rId6"/>
    <p:sldLayoutId id="2147483781" r:id="rId7"/>
    <p:sldLayoutId id="2147483780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789" r:id="rId14"/>
    <p:sldLayoutId id="2147483790" r:id="rId15"/>
    <p:sldLayoutId id="2147483791" r:id="rId16"/>
    <p:sldLayoutId id="2147483792" r:id="rId17"/>
    <p:sldLayoutId id="2147483842" r:id="rId18"/>
    <p:sldLayoutId id="2147483793" r:id="rId19"/>
    <p:sldLayoutId id="2147483794" r:id="rId20"/>
    <p:sldLayoutId id="2147483843" r:id="rId21"/>
    <p:sldLayoutId id="2147483844" r:id="rId22"/>
    <p:sldLayoutId id="2147483795" r:id="rId23"/>
    <p:sldLayoutId id="2147483796" r:id="rId24"/>
    <p:sldLayoutId id="2147483797" r:id="rId25"/>
    <p:sldLayoutId id="2147483798" r:id="rId26"/>
    <p:sldLayoutId id="2147483828" r:id="rId27"/>
    <p:sldLayoutId id="2147483831" r:id="rId28"/>
    <p:sldLayoutId id="2147483832" r:id="rId29"/>
    <p:sldLayoutId id="2147483833" r:id="rId30"/>
    <p:sldLayoutId id="2147483834" r:id="rId31"/>
    <p:sldLayoutId id="2147483799" r:id="rId32"/>
    <p:sldLayoutId id="2147483800" r:id="rId33"/>
    <p:sldLayoutId id="2147483801" r:id="rId34"/>
    <p:sldLayoutId id="2147483802" r:id="rId35"/>
    <p:sldLayoutId id="2147483803" r:id="rId36"/>
    <p:sldLayoutId id="2147483804" r:id="rId37"/>
    <p:sldLayoutId id="2147483808" r:id="rId38"/>
    <p:sldLayoutId id="2147483809" r:id="rId39"/>
    <p:sldLayoutId id="2147483810" r:id="rId40"/>
    <p:sldLayoutId id="2147483811" r:id="rId41"/>
    <p:sldLayoutId id="2147483812" r:id="rId42"/>
    <p:sldLayoutId id="2147483813" r:id="rId43"/>
    <p:sldLayoutId id="2147483816" r:id="rId44"/>
    <p:sldLayoutId id="2147483817" r:id="rId45"/>
    <p:sldLayoutId id="2147483805" r:id="rId46"/>
    <p:sldLayoutId id="2147483806" r:id="rId47"/>
    <p:sldLayoutId id="2147483807" r:id="rId48"/>
    <p:sldLayoutId id="2147483814" r:id="rId49"/>
    <p:sldLayoutId id="2147483815" r:id="rId50"/>
    <p:sldLayoutId id="2147483821" r:id="rId51"/>
    <p:sldLayoutId id="2147483822" r:id="rId52"/>
    <p:sldLayoutId id="2147483825" r:id="rId53"/>
    <p:sldLayoutId id="2147483824" r:id="rId54"/>
    <p:sldLayoutId id="2147483823" r:id="rId55"/>
    <p:sldLayoutId id="2147483827" r:id="rId56"/>
    <p:sldLayoutId id="2147483818" r:id="rId57"/>
    <p:sldLayoutId id="2147483819" r:id="rId58"/>
    <p:sldLayoutId id="2147483820" r:id="rId59"/>
    <p:sldLayoutId id="2147483826" r:id="rId60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 xmlns:p15="http://schemas.microsoft.com/office/powerpoint/2012/main" xmlns:a14="http://schemas.microsoft.com/office/drawing/2010/main" xmlns:a16="http://schemas.microsoft.com/office/drawing/2014/main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600" b="0" i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dirty="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b="1" kern="1200" baseline="0" noProof="0" dirty="0">
          <a:solidFill>
            <a:schemeClr val="accent2"/>
          </a:solidFill>
          <a:latin typeface="+mj-lt"/>
          <a:ea typeface="+mn-ea"/>
          <a:cs typeface="+mn-cs"/>
        </a:defRPr>
      </a:lvl6pPr>
      <a:lvl7pPr marL="250825" indent="-250825" algn="l" defTabSz="2032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+mj-lt"/>
        <a:buAutoNum type="arabicPeriod"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504000" indent="-252000" algn="l" defTabSz="2032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Font typeface="+mj-lt"/>
        <a:buAutoNum type="alphaLcParenR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US" sz="2000" kern="1200" baseline="0" noProof="0" dirty="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lvl1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2032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lang="en-US" sz="18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09600" indent="-20320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203200" rtl="0" eaLnBrk="1" latinLnBrk="0" hangingPunct="1">
        <a:lnSpc>
          <a:spcPts val="2000"/>
        </a:lnSpc>
        <a:spcBef>
          <a:spcPts val="0"/>
        </a:spcBef>
        <a:spcAft>
          <a:spcPts val="400"/>
        </a:spcAft>
        <a:buFontTx/>
        <a:buNone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406400" indent="-40640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 typeface="+mj-lt"/>
        <a:buAutoNum type="arabicPeriod"/>
        <a:defRPr lang="en-US" sz="18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032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FontTx/>
        <a:buNone/>
        <a:defRPr lang="en-US" sz="1800" b="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203200" rtl="0" eaLnBrk="1" latinLnBrk="0" hangingPunct="1">
        <a:lnSpc>
          <a:spcPts val="3200"/>
        </a:lnSpc>
        <a:spcBef>
          <a:spcPts val="0"/>
        </a:spcBef>
        <a:spcAft>
          <a:spcPts val="1600"/>
        </a:spcAft>
        <a:buFontTx/>
        <a:buNone/>
        <a:defRPr lang="en-US" sz="24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03200" rtl="0" eaLnBrk="1" latinLnBrk="0" hangingPunct="1">
        <a:lnSpc>
          <a:spcPts val="4000"/>
        </a:lnSpc>
        <a:spcBef>
          <a:spcPts val="1600"/>
        </a:spcBef>
        <a:spcAft>
          <a:spcPts val="1600"/>
        </a:spcAft>
        <a:buFontTx/>
        <a:buNone/>
        <a:defRPr lang="en-US" sz="3600" kern="1200" baseline="0" noProof="0" dirty="0">
          <a:solidFill>
            <a:schemeClr val="accent1"/>
          </a:solidFill>
          <a:latin typeface="+mj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799">
          <p15:clr>
            <a:srgbClr val="F26B43"/>
          </p15:clr>
        </p15:guide>
        <p15:guide id="7" orient="horz" pos="1071">
          <p15:clr>
            <a:srgbClr val="F26B43"/>
          </p15:clr>
        </p15:guide>
        <p15:guide id="8" orient="horz" pos="527" userDrawn="1">
          <p15:clr>
            <a:srgbClr val="5ACBF0"/>
          </p15:clr>
        </p15:guide>
        <p15:guide id="9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notesSlide" Target="../notesSlides/notesSlide1.xml"/><Relationship Id="rId47" Type="http://schemas.openxmlformats.org/officeDocument/2006/relationships/hyperlink" Target="https://www.loom.com/share/2715de8ca67a4dd6bddf87a6349f3fe5?sid=788d54a3-96f0-4cbb-b606-507e7862caac" TargetMode="External"/><Relationship Id="rId50" Type="http://schemas.openxmlformats.org/officeDocument/2006/relationships/hyperlink" Target="https://www.loom.com/share/135a601f4bbb4142b5f421095248faf2?sid=02ba2d4f-283d-426e-9eba-f82c72713942" TargetMode="Externa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image" Target="../media/image10.png"/><Relationship Id="rId53" Type="http://schemas.openxmlformats.org/officeDocument/2006/relationships/hyperlink" Target="https://www.loom.com/share/47bfc8606f7043dbb7ea2486a1f57d57" TargetMode="Externa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hyperlink" Target="https://www.loom.com/share/9be1bd2f25e54926a318f0018e8a5a9a" TargetMode="External"/><Relationship Id="rId52" Type="http://schemas.openxmlformats.org/officeDocument/2006/relationships/hyperlink" Target="https://www.loom.com/share/713db196b96d4877b96daa151f385f99" TargetMode="Externa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image" Target="../media/image9.png"/><Relationship Id="rId48" Type="http://schemas.openxmlformats.org/officeDocument/2006/relationships/hyperlink" Target="https://www.loom.com/share/4b845f33fb4f4887b5165938abdf4082" TargetMode="External"/><Relationship Id="rId8" Type="http://schemas.openxmlformats.org/officeDocument/2006/relationships/tags" Target="../tags/tag18.xml"/><Relationship Id="rId51" Type="http://schemas.openxmlformats.org/officeDocument/2006/relationships/hyperlink" Target="https://www.loom.com/share/0599e9119a4b441c909fb794350ae9da" TargetMode="Externa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image" Target="../media/image11.svg"/><Relationship Id="rId20" Type="http://schemas.openxmlformats.org/officeDocument/2006/relationships/tags" Target="../tags/tag30.xml"/><Relationship Id="rId41" Type="http://schemas.openxmlformats.org/officeDocument/2006/relationships/slideLayout" Target="../slideLayouts/slideLayout17.xml"/><Relationship Id="rId54" Type="http://schemas.openxmlformats.org/officeDocument/2006/relationships/hyperlink" Target="https://www.loom.com/share/e14c7f9c0bc14657acab5b11c11b0aa3" TargetMode="Externa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hyperlink" Target="https://www.loom.com/share/6735e501df5d4a18a5da4225cb787a7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08DFAA-9153-A3F7-331E-713E00C4D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FD23CD4-B3E8-29BF-F097-22471C4BABB6}"/>
              </a:ext>
            </a:extLst>
          </p:cNvPr>
          <p:cNvPicPr>
            <a:picLocks noChangeAspect="1"/>
          </p:cNvPicPr>
          <p:nvPr/>
        </p:nvPicPr>
        <p:blipFill>
          <a:blip r:embed="rId43"/>
          <a:srcRect l="1000" t="5125" r="875" b="4439"/>
          <a:stretch>
            <a:fillRect/>
          </a:stretch>
        </p:blipFill>
        <p:spPr>
          <a:xfrm>
            <a:off x="552000" y="1700808"/>
            <a:ext cx="11088001" cy="745793"/>
          </a:xfrm>
          <a:prstGeom prst="roundRect">
            <a:avLst>
              <a:gd name="adj" fmla="val 9855"/>
            </a:avLst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FD02E8-0EBE-67B7-4FA3-9E1D87859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mpower® ribbon – video guides (Lite version)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10726E4-625B-2CE9-7CC8-2C04E1B381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71256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10137D32-96B7-6B30-FA8A-2D613DA24ACC}"/>
              </a:ext>
            </a:extLst>
          </p:cNvPr>
          <p:cNvCxnSpPr>
            <a:cxnSpLocks/>
            <a:endCxn id="82" idx="4"/>
          </p:cNvCxnSpPr>
          <p:nvPr/>
        </p:nvCxnSpPr>
        <p:spPr>
          <a:xfrm rot="5400000" flipH="1" flipV="1">
            <a:off x="866423" y="2757701"/>
            <a:ext cx="681664" cy="0"/>
          </a:xfrm>
          <a:prstGeom prst="bentConnector3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2933EB1-7853-930F-F9F4-E3E22F8F19B6}"/>
              </a:ext>
            </a:extLst>
          </p:cNvPr>
          <p:cNvCxnSpPr>
            <a:cxnSpLocks/>
            <a:stCxn id="6" idx="0"/>
            <a:endCxn id="127" idx="4"/>
          </p:cNvCxnSpPr>
          <p:nvPr/>
        </p:nvCxnSpPr>
        <p:spPr>
          <a:xfrm rot="5400000" flipH="1" flipV="1">
            <a:off x="2480599" y="2206274"/>
            <a:ext cx="390594" cy="811785"/>
          </a:xfrm>
          <a:prstGeom prst="bentConnector3">
            <a:avLst>
              <a:gd name="adj1" fmla="val 62193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497CCAC9-F636-46E3-9B6C-B7617BC9C7FA}"/>
              </a:ext>
            </a:extLst>
          </p:cNvPr>
          <p:cNvCxnSpPr>
            <a:cxnSpLocks/>
            <a:stCxn id="6" idx="0"/>
            <a:endCxn id="128" idx="4"/>
          </p:cNvCxnSpPr>
          <p:nvPr/>
        </p:nvCxnSpPr>
        <p:spPr>
          <a:xfrm rot="5400000" flipH="1" flipV="1">
            <a:off x="3084846" y="1602027"/>
            <a:ext cx="390594" cy="2020278"/>
          </a:xfrm>
          <a:prstGeom prst="bentConnector3">
            <a:avLst>
              <a:gd name="adj1" fmla="val 62569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8131BF1E-BF8E-DD7B-7F30-5357BC64367F}"/>
              </a:ext>
            </a:extLst>
          </p:cNvPr>
          <p:cNvCxnSpPr>
            <a:cxnSpLocks/>
            <a:stCxn id="31" idx="0"/>
            <a:endCxn id="130" idx="4"/>
          </p:cNvCxnSpPr>
          <p:nvPr/>
        </p:nvCxnSpPr>
        <p:spPr>
          <a:xfrm rot="5400000" flipH="1" flipV="1">
            <a:off x="4048049" y="1828682"/>
            <a:ext cx="379878" cy="1577685"/>
          </a:xfrm>
          <a:prstGeom prst="bentConnector3">
            <a:avLst>
              <a:gd name="adj1" fmla="val 39656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D9818C81-184C-475A-D668-E94C5E39D1DE}"/>
              </a:ext>
            </a:extLst>
          </p:cNvPr>
          <p:cNvCxnSpPr>
            <a:cxnSpLocks/>
            <a:stCxn id="36" idx="0"/>
            <a:endCxn id="131" idx="4"/>
          </p:cNvCxnSpPr>
          <p:nvPr/>
        </p:nvCxnSpPr>
        <p:spPr>
          <a:xfrm rot="5400000" flipH="1" flipV="1">
            <a:off x="7632509" y="2346932"/>
            <a:ext cx="390594" cy="53046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2571D3B8-3FBC-3766-7BAB-946E36C6BAD9}"/>
              </a:ext>
            </a:extLst>
          </p:cNvPr>
          <p:cNvCxnSpPr>
            <a:cxnSpLocks/>
            <a:stCxn id="41" idx="0"/>
            <a:endCxn id="132" idx="4"/>
          </p:cNvCxnSpPr>
          <p:nvPr/>
        </p:nvCxnSpPr>
        <p:spPr>
          <a:xfrm rot="5400000" flipH="1" flipV="1">
            <a:off x="8811651" y="2346932"/>
            <a:ext cx="390594" cy="53046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C5FA801E-D298-8C92-64C9-8F8CD3277075}"/>
              </a:ext>
            </a:extLst>
          </p:cNvPr>
          <p:cNvCxnSpPr>
            <a:cxnSpLocks/>
            <a:stCxn id="46" idx="0"/>
            <a:endCxn id="134" idx="4"/>
          </p:cNvCxnSpPr>
          <p:nvPr/>
        </p:nvCxnSpPr>
        <p:spPr>
          <a:xfrm rot="5400000" flipH="1" flipV="1">
            <a:off x="10095690" y="2242035"/>
            <a:ext cx="390594" cy="740263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B9910DB3-0C37-19B5-D2C7-EE43EA653F05}"/>
              </a:ext>
            </a:extLst>
          </p:cNvPr>
          <p:cNvCxnSpPr>
            <a:cxnSpLocks/>
            <a:stCxn id="44" idx="0"/>
            <a:endCxn id="135" idx="4"/>
          </p:cNvCxnSpPr>
          <p:nvPr/>
        </p:nvCxnSpPr>
        <p:spPr>
          <a:xfrm rot="5400000" flipH="1" flipV="1">
            <a:off x="10991614" y="2525256"/>
            <a:ext cx="390594" cy="17382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Oval 126">
            <a:extLst>
              <a:ext uri="{FF2B5EF4-FFF2-40B4-BE49-F238E27FC236}">
                <a16:creationId xmlns:a16="http://schemas.microsoft.com/office/drawing/2014/main" id="{426353DF-9E6A-2FD4-2622-00528A67DF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5789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0E5E5BE6-7B40-A337-2D67-8CAC5E119F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54282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01DEAD4E-AB16-7B88-2769-562911DBB7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990831" y="2355585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79E47E44-85CB-0417-9392-8A94C1E5728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057041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9301D103-4341-D0F8-BDBE-E5AEF5B3054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236182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FBE0A390-E393-665E-C013-9B8E7095C23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625119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1CEE4075-9588-C91E-E52E-962EB1350FD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237821" y="2344869"/>
            <a:ext cx="72000" cy="7200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Rounded box full half">
            <a:extLst>
              <a:ext uri="{FF2B5EF4-FFF2-40B4-BE49-F238E27FC236}">
                <a16:creationId xmlns:a16="http://schemas.microsoft.com/office/drawing/2014/main" id="{234EDE94-53E7-FA84-0FBF-836671339C5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50862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</a:rPr>
              <a:t>New</a:t>
            </a:r>
            <a:endParaRPr lang="en-US" sz="1000" b="1">
              <a:solidFill>
                <a:schemeClr val="accent1"/>
              </a:solidFill>
              <a:latin typeface="+mj-lt"/>
            </a:endParaRP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Start a new presentation – select company template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Convert to other brands and template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Native tools to add, change and reset new slide layouts</a:t>
            </a:r>
          </a:p>
        </p:txBody>
      </p:sp>
      <p:sp>
        <p:nvSpPr>
          <p:cNvPr id="6" name="Rounded box full half">
            <a:extLst>
              <a:ext uri="{FF2B5EF4-FFF2-40B4-BE49-F238E27FC236}">
                <a16:creationId xmlns:a16="http://schemas.microsoft.com/office/drawing/2014/main" id="{36413EC9-FE27-C787-0FF6-2624E468F0D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1730004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</a:rPr>
              <a:t>Text</a:t>
            </a:r>
            <a:br>
              <a:rPr lang="en-US" sz="1400" b="1">
                <a:solidFill>
                  <a:schemeClr val="accent1"/>
                </a:solidFill>
                <a:latin typeface="+mj-lt"/>
              </a:rPr>
            </a:br>
            <a:r>
              <a:rPr lang="en-US" sz="1400" b="1">
                <a:solidFill>
                  <a:schemeClr val="accent1"/>
                </a:solidFill>
                <a:latin typeface="+mj-lt"/>
              </a:rPr>
              <a:t>and Color</a:t>
            </a:r>
            <a:r>
              <a:rPr lang="en-US" sz="1200" b="1">
                <a:solidFill>
                  <a:schemeClr val="accent1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Commonly used PowerPoint text and formatting option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Color palettes are grouped and easy to access</a:t>
            </a:r>
          </a:p>
        </p:txBody>
      </p:sp>
      <p:sp>
        <p:nvSpPr>
          <p:cNvPr id="36" name="Rounded box full half">
            <a:extLst>
              <a:ext uri="{FF2B5EF4-FFF2-40B4-BE49-F238E27FC236}">
                <a16:creationId xmlns:a16="http://schemas.microsoft.com/office/drawing/2014/main" id="{CA9097E1-B9BC-796E-F769-04F1C2CB0A9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7022572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Align – Layout tools</a:t>
            </a:r>
          </a:p>
          <a:p>
            <a:pPr marL="288000" lvl="1" indent="-108000">
              <a:spcBef>
                <a:spcPts val="400"/>
              </a:spcBef>
            </a:pPr>
            <a:r>
              <a:rPr lang="en-US" sz="900" dirty="0"/>
              <a:t>Arrange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Position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Resize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Select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Stretch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Dock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Angles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Drawing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Shape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Margins</a:t>
            </a:r>
          </a:p>
          <a:p>
            <a:pPr marL="288000" lvl="1" indent="-108000">
              <a:spcBef>
                <a:spcPts val="300"/>
              </a:spcBef>
            </a:pPr>
            <a:r>
              <a:rPr lang="en-US" sz="900" dirty="0"/>
              <a:t>Spacing</a:t>
            </a:r>
          </a:p>
        </p:txBody>
      </p:sp>
      <p:sp>
        <p:nvSpPr>
          <p:cNvPr id="41" name="Rounded box full half">
            <a:extLst>
              <a:ext uri="{FF2B5EF4-FFF2-40B4-BE49-F238E27FC236}">
                <a16:creationId xmlns:a16="http://schemas.microsoft.com/office/drawing/2014/main" id="{15B974A4-254C-4A20-60A1-CF2D59CCD29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8201714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</a:rPr>
              <a:t>Finalize</a:t>
            </a:r>
            <a:r>
              <a:rPr lang="en-US" sz="1000" b="1">
                <a:solidFill>
                  <a:schemeClr val="accent2"/>
                </a:solidFill>
                <a:latin typeface="+mj-lt"/>
              </a:rPr>
              <a:t> 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Translation and other language tool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Set presentation settings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Design check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Additional checks for consistency and spelling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Share and send files and slides</a:t>
            </a:r>
          </a:p>
        </p:txBody>
      </p:sp>
      <p:sp>
        <p:nvSpPr>
          <p:cNvPr id="46" name="Rounded box full half">
            <a:extLst>
              <a:ext uri="{FF2B5EF4-FFF2-40B4-BE49-F238E27FC236}">
                <a16:creationId xmlns:a16="http://schemas.microsoft.com/office/drawing/2014/main" id="{4FA6C11D-FC5F-22C4-FE65-BC0B1AC8437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9380856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72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</a:rPr>
              <a:t>Help and settin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Links to request help and support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Links to our knowledge base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Send feedback and report bu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Customize user settings</a:t>
            </a:r>
          </a:p>
          <a:p>
            <a:pPr marL="108000" lvl="1" indent="-108000">
              <a:spcBef>
                <a:spcPts val="400"/>
              </a:spcBef>
            </a:pPr>
            <a:r>
              <a:rPr lang="en-US" sz="900"/>
              <a:t>Check empower® version number</a:t>
            </a:r>
          </a:p>
        </p:txBody>
      </p:sp>
      <p:sp>
        <p:nvSpPr>
          <p:cNvPr id="44" name="Rounded box full half">
            <a:extLst>
              <a:ext uri="{FF2B5EF4-FFF2-40B4-BE49-F238E27FC236}">
                <a16:creationId xmlns:a16="http://schemas.microsoft.com/office/drawing/2014/main" id="{87004BFD-81D0-D386-D3B3-8E9D8B37C8E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10560001" y="2807463"/>
            <a:ext cx="1080000" cy="3215788"/>
          </a:xfrm>
          <a:prstGeom prst="roundRect">
            <a:avLst>
              <a:gd name="adj" fmla="val 4914"/>
            </a:avLst>
          </a:prstGeom>
          <a:solidFill>
            <a:schemeClr val="bg1"/>
          </a:solidFill>
          <a:ln>
            <a:noFill/>
          </a:ln>
          <a:effectLst>
            <a:outerShdw blurRad="76200" sx="101000" sy="101000" algn="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82800" rIns="90000" bIns="82800" rtlCol="0" anchor="t"/>
          <a:lstStyle>
            <a:lvl1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lvl="1" indent="-252000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lvl="2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lvl="3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50825" lvl="6" indent="-250825" algn="l" defTabSz="2032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sz="1800" b="0" kern="1200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504000" lvl="7" indent="-252000" algn="l" defTabSz="2032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lvl="8" indent="0" algn="l" defTabSz="2032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kern="1200" baseline="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</a:rPr>
              <a:t>AI</a:t>
            </a:r>
            <a:br>
              <a:rPr lang="en-US" sz="1400" b="1">
                <a:solidFill>
                  <a:schemeClr val="accent1"/>
                </a:solidFill>
                <a:latin typeface="+mj-lt"/>
              </a:rPr>
            </a:br>
            <a:r>
              <a:rPr lang="en-US" sz="1400" b="1">
                <a:solidFill>
                  <a:schemeClr val="accent1"/>
                </a:solidFill>
                <a:latin typeface="+mj-lt"/>
              </a:rPr>
              <a:t>Assistant 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Get help with drafting, generating improving and modifying text.</a:t>
            </a:r>
          </a:p>
          <a:p>
            <a:pPr marL="108000" lvl="1" indent="-108000">
              <a:spcBef>
                <a:spcPts val="600"/>
              </a:spcBef>
            </a:pPr>
            <a:r>
              <a:rPr lang="en-US" sz="900"/>
              <a:t>Install it in PowerPoint, Word and Outlook to translate, create concise headlines, and refine text</a:t>
            </a:r>
          </a:p>
        </p:txBody>
      </p:sp>
      <p:sp>
        <p:nvSpPr>
          <p:cNvPr id="3" name="_Footnotes - full width">
            <a:extLst>
              <a:ext uri="{FF2B5EF4-FFF2-40B4-BE49-F238E27FC236}">
                <a16:creationId xmlns:a16="http://schemas.microsoft.com/office/drawing/2014/main" id="{B12F51C0-E9D8-A758-3391-DD0632AD28E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50861" y="6455982"/>
            <a:ext cx="11088687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lvl="0" indent="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aseline="0"/>
            </a:lvl1pPr>
            <a:lvl2pPr marL="144000" lvl="1" indent="-144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lang="en-US" sz="1000" baseline="0" noProof="0" dirty="0"/>
            </a:lvl2pPr>
            <a:lvl3pPr marL="504000" indent="-252000" defTabSz="2032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3pPr>
            <a:lvl4pPr marL="756000" indent="-252000" defTabSz="2032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000" baseline="0" dirty="0"/>
            </a:lvl4pPr>
            <a:lvl5pPr marL="0" indent="0" defTabSz="20320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1000" b="1" baseline="0" dirty="0">
                <a:solidFill>
                  <a:schemeClr val="accent1"/>
                </a:solidFill>
                <a:latin typeface="+mj-lt"/>
              </a:defRPr>
            </a:lvl5pPr>
            <a:lvl6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="1" baseline="0" noProof="0" dirty="0">
                <a:solidFill>
                  <a:schemeClr val="accent2"/>
                </a:solidFill>
                <a:latin typeface="+mj-lt"/>
              </a:defRPr>
            </a:lvl6pPr>
            <a:lvl7pPr marL="250825" indent="-250825" defTabSz="20320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lang="en-US" b="0" baseline="0" noProof="0" dirty="0">
                <a:solidFill>
                  <a:schemeClr val="accent1"/>
                </a:solidFill>
                <a:latin typeface="+mj-lt"/>
              </a:defRPr>
            </a:lvl7pPr>
            <a:lvl8pPr marL="504000" indent="-252000" defTabSz="2032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arenR"/>
              <a:defRPr lang="en-US" baseline="0" noProof="0" dirty="0"/>
            </a:lvl8pPr>
            <a:lvl9pPr marL="0" indent="0" defTabSz="20320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US" sz="2000" baseline="0" noProof="0" dirty="0">
                <a:solidFill>
                  <a:schemeClr val="accent2"/>
                </a:solidFill>
              </a:defRPr>
            </a:lvl9pPr>
          </a:lstStyle>
          <a:p>
            <a:r>
              <a:rPr lang="en-US"/>
              <a:t>NOTE:  Your toolbar may look different, due to different editions, differently sized monitors and different screen resolution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2331E6A-D842-B5EF-D7B8-75AE2BDE9E0E}"/>
              </a:ext>
            </a:extLst>
          </p:cNvPr>
          <p:cNvGrpSpPr/>
          <p:nvPr/>
        </p:nvGrpSpPr>
        <p:grpSpPr>
          <a:xfrm>
            <a:off x="550861" y="5599113"/>
            <a:ext cx="1080000" cy="424136"/>
            <a:chOff x="550861" y="5599113"/>
            <a:chExt cx="1080000" cy="424136"/>
          </a:xfrm>
        </p:grpSpPr>
        <p:sp>
          <p:nvSpPr>
            <p:cNvPr id="15" name="Rounded box full half">
              <a:hlinkClick r:id="rId44" tooltip="empower® ribbon - New"/>
              <a:extLst>
                <a:ext uri="{FF2B5EF4-FFF2-40B4-BE49-F238E27FC236}">
                  <a16:creationId xmlns:a16="http://schemas.microsoft.com/office/drawing/2014/main" id="{6E450400-646E-9B96-6141-95A157AA4A4C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>
            <a:xfrm>
              <a:off x="550861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14" name="Play Button Circled">
              <a:hlinkClick r:id="rId44" tooltip="empower ribbon - New"/>
              <a:extLst>
                <a:ext uri="{FF2B5EF4-FFF2-40B4-BE49-F238E27FC236}">
                  <a16:creationId xmlns:a16="http://schemas.microsoft.com/office/drawing/2014/main" id="{717BC6FD-9F9D-743B-DF7B-A2478E385EFA}"/>
                </a:ext>
              </a:extLst>
            </p:cNvPr>
            <p:cNvPicPr/>
            <p:nvPr>
              <p:custDataLst>
                <p:tags r:id="rId40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617609" y="5721181"/>
              <a:ext cx="180000" cy="180000"/>
            </a:xfrm>
            <a:prstGeom prst="rect">
              <a:avLst/>
            </a:prstGeom>
          </p:spPr>
        </p:pic>
      </p:grpSp>
      <p:sp>
        <p:nvSpPr>
          <p:cNvPr id="149" name="Freeform: Shape 46">
            <a:extLst>
              <a:ext uri="{FF2B5EF4-FFF2-40B4-BE49-F238E27FC236}">
                <a16:creationId xmlns:a16="http://schemas.microsoft.com/office/drawing/2014/main" id="{CFADC678-B460-8FEF-6DBD-B717BA99FB0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02063" y="6346647"/>
            <a:ext cx="358021" cy="359195"/>
          </a:xfrm>
          <a:custGeom>
            <a:avLst/>
            <a:gdLst>
              <a:gd name="connsiteX0" fmla="*/ 7 w 646114"/>
              <a:gd name="connsiteY0" fmla="*/ 91776 h 648232"/>
              <a:gd name="connsiteX1" fmla="*/ 264060 w 646114"/>
              <a:gd name="connsiteY1" fmla="*/ 55890 h 648232"/>
              <a:gd name="connsiteX2" fmla="*/ 264060 w 646114"/>
              <a:gd name="connsiteY2" fmla="*/ 310589 h 648232"/>
              <a:gd name="connsiteX3" fmla="*/ 155 w 646114"/>
              <a:gd name="connsiteY3" fmla="*/ 312089 h 648232"/>
              <a:gd name="connsiteX4" fmla="*/ 263942 w 646114"/>
              <a:gd name="connsiteY4" fmla="*/ 339856 h 648232"/>
              <a:gd name="connsiteX5" fmla="*/ 264148 w 646114"/>
              <a:gd name="connsiteY5" fmla="*/ 594760 h 648232"/>
              <a:gd name="connsiteX6" fmla="*/ 213 w 646114"/>
              <a:gd name="connsiteY6" fmla="*/ 558463 h 648232"/>
              <a:gd name="connsiteX7" fmla="*/ 213 w 646114"/>
              <a:gd name="connsiteY7" fmla="*/ 338268 h 648232"/>
              <a:gd name="connsiteX8" fmla="*/ 295945 w 646114"/>
              <a:gd name="connsiteY8" fmla="*/ 51125 h 648232"/>
              <a:gd name="connsiteX9" fmla="*/ 646034 w 646114"/>
              <a:gd name="connsiteY9" fmla="*/ 3 h 648232"/>
              <a:gd name="connsiteX10" fmla="*/ 646034 w 646114"/>
              <a:gd name="connsiteY10" fmla="*/ 307265 h 648232"/>
              <a:gd name="connsiteX11" fmla="*/ 296004 w 646114"/>
              <a:gd name="connsiteY11" fmla="*/ 310030 h 648232"/>
              <a:gd name="connsiteX12" fmla="*/ 646122 w 646114"/>
              <a:gd name="connsiteY12" fmla="*/ 342327 h 648232"/>
              <a:gd name="connsiteX13" fmla="*/ 646122 w 646114"/>
              <a:gd name="connsiteY13" fmla="*/ 648236 h 648232"/>
              <a:gd name="connsiteX14" fmla="*/ 296092 w 646114"/>
              <a:gd name="connsiteY14" fmla="*/ 598820 h 648232"/>
              <a:gd name="connsiteX15" fmla="*/ 295592 w 646114"/>
              <a:gd name="connsiteY15" fmla="*/ 341797 h 64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46114" h="648232">
                <a:moveTo>
                  <a:pt x="7" y="91776"/>
                </a:moveTo>
                <a:lnTo>
                  <a:pt x="264060" y="55890"/>
                </a:lnTo>
                <a:lnTo>
                  <a:pt x="264060" y="310589"/>
                </a:lnTo>
                <a:lnTo>
                  <a:pt x="155" y="312089"/>
                </a:lnTo>
                <a:close/>
                <a:moveTo>
                  <a:pt x="263942" y="339856"/>
                </a:moveTo>
                <a:lnTo>
                  <a:pt x="264148" y="594760"/>
                </a:lnTo>
                <a:lnTo>
                  <a:pt x="213" y="558463"/>
                </a:lnTo>
                <a:lnTo>
                  <a:pt x="213" y="338268"/>
                </a:lnTo>
                <a:close/>
                <a:moveTo>
                  <a:pt x="295945" y="51125"/>
                </a:moveTo>
                <a:lnTo>
                  <a:pt x="646034" y="3"/>
                </a:lnTo>
                <a:lnTo>
                  <a:pt x="646034" y="307265"/>
                </a:lnTo>
                <a:lnTo>
                  <a:pt x="296004" y="310030"/>
                </a:lnTo>
                <a:close/>
                <a:moveTo>
                  <a:pt x="646122" y="342327"/>
                </a:moveTo>
                <a:lnTo>
                  <a:pt x="646122" y="648236"/>
                </a:lnTo>
                <a:lnTo>
                  <a:pt x="296092" y="598820"/>
                </a:lnTo>
                <a:lnTo>
                  <a:pt x="295592" y="341797"/>
                </a:lnTo>
                <a:close/>
              </a:path>
            </a:pathLst>
          </a:custGeom>
          <a:solidFill>
            <a:schemeClr val="accent4"/>
          </a:solidFill>
          <a:ln w="2933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AB437AA-44E8-6362-FB01-3CD88F640683}"/>
              </a:ext>
            </a:extLst>
          </p:cNvPr>
          <p:cNvGrpSpPr/>
          <p:nvPr/>
        </p:nvGrpSpPr>
        <p:grpSpPr>
          <a:xfrm>
            <a:off x="2909146" y="2807463"/>
            <a:ext cx="1080000" cy="3215788"/>
            <a:chOff x="4850777" y="2807463"/>
            <a:chExt cx="1080000" cy="3215788"/>
          </a:xfrm>
        </p:grpSpPr>
        <p:sp>
          <p:nvSpPr>
            <p:cNvPr id="31" name="Rounded box full half">
              <a:extLst>
                <a:ext uri="{FF2B5EF4-FFF2-40B4-BE49-F238E27FC236}">
                  <a16:creationId xmlns:a16="http://schemas.microsoft.com/office/drawing/2014/main" id="{E7F50C7A-9E03-CB69-FAB2-79EC434B77BD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>
            <a:xfrm>
              <a:off x="4850777" y="2807463"/>
              <a:ext cx="1080000" cy="3215788"/>
            </a:xfrm>
            <a:prstGeom prst="roundRect">
              <a:avLst>
                <a:gd name="adj" fmla="val 4914"/>
              </a:avLst>
            </a:prstGeom>
            <a:solidFill>
              <a:schemeClr val="bg1"/>
            </a:solidFill>
            <a:ln>
              <a:noFill/>
            </a:ln>
            <a:effectLst>
              <a:outerShdw blurRad="76200" sx="101000" sy="101000" algn="tr" rotWithShape="0">
                <a:schemeClr val="tx1"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82800" rIns="90000" bIns="82800" rtlCol="0" anchor="t"/>
            <a:lstStyle>
              <a:lvl1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lvl="2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lvl="3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5pPr>
              <a:lvl6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6pPr>
              <a:lvl7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504000" lvl="7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arenR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lvl="8" indent="0" algn="l" defTabSz="203200" rtl="0" eaLnBrk="1" latinLnBrk="0" hangingPunct="1">
                <a:lnSpc>
                  <a:spcPct val="105000"/>
                </a:lnSpc>
                <a:spcBef>
                  <a:spcPts val="1800"/>
                </a:spcBef>
                <a:spcAft>
                  <a:spcPts val="0"/>
                </a:spcAft>
                <a:buFontTx/>
                <a:buNone/>
                <a:defRPr lang="en-US" sz="2000" kern="1200" baseline="0" noProof="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400"/>
                </a:spcBef>
                <a:buNone/>
              </a:pPr>
              <a:r>
                <a:rPr lang="en-US" sz="1400" b="1">
                  <a:solidFill>
                    <a:schemeClr val="accent1"/>
                  </a:solidFill>
                  <a:latin typeface="+mj-lt"/>
                </a:rPr>
                <a:t>Insert</a:t>
              </a:r>
              <a:r>
                <a:rPr lang="en-US" sz="1000" b="1">
                  <a:solidFill>
                    <a:schemeClr val="accent2"/>
                  </a:solidFill>
                  <a:latin typeface="+mj-lt"/>
                </a:rPr>
                <a:t> </a:t>
              </a:r>
            </a:p>
            <a:p>
              <a:pPr marL="108000" lvl="1" indent="-108000">
                <a:spcBef>
                  <a:spcPts val="400"/>
                </a:spcBef>
              </a:pPr>
              <a:r>
                <a:rPr lang="en-US" sz="900"/>
                <a:t>Automatic agenda tool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/>
                <a:t>Access to insert library design element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/>
                <a:t>Insert empower® charts and Excel link tool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/>
                <a:t>Insert additional elements and shapes</a:t>
              </a:r>
            </a:p>
            <a:p>
              <a:pPr marL="108000" lvl="1" indent="-108000">
                <a:spcBef>
                  <a:spcPts val="400"/>
                </a:spcBef>
              </a:pPr>
              <a:endParaRPr lang="en-US" sz="900"/>
            </a:p>
          </p:txBody>
        </p:sp>
        <p:pic>
          <p:nvPicPr>
            <p:cNvPr id="91" name="Play Button Circled">
              <a:hlinkClick r:id="rId47" tooltip="empower ribbon - Insert"/>
              <a:extLst>
                <a:ext uri="{FF2B5EF4-FFF2-40B4-BE49-F238E27FC236}">
                  <a16:creationId xmlns:a16="http://schemas.microsoft.com/office/drawing/2014/main" id="{DC9472EB-0E52-6A99-BAC1-7A12E902671F}"/>
                </a:ext>
              </a:extLst>
            </p:cNvPr>
            <p:cNvPicPr/>
            <p:nvPr>
              <p:custDataLst>
                <p:tags r:id="rId38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4888029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B7303A-A3F9-A2E8-6193-0D763C3F4F10}"/>
              </a:ext>
            </a:extLst>
          </p:cNvPr>
          <p:cNvGrpSpPr/>
          <p:nvPr/>
        </p:nvGrpSpPr>
        <p:grpSpPr>
          <a:xfrm>
            <a:off x="4088288" y="2807463"/>
            <a:ext cx="1368000" cy="3215788"/>
            <a:chOff x="4850777" y="2807463"/>
            <a:chExt cx="1368000" cy="3215788"/>
          </a:xfrm>
        </p:grpSpPr>
        <p:sp>
          <p:nvSpPr>
            <p:cNvPr id="11" name="Rounded box full half">
              <a:extLst>
                <a:ext uri="{FF2B5EF4-FFF2-40B4-BE49-F238E27FC236}">
                  <a16:creationId xmlns:a16="http://schemas.microsoft.com/office/drawing/2014/main" id="{013097C5-2BDB-B1B4-68D4-DF1D02E43B0D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4850777" y="2807463"/>
              <a:ext cx="1368000" cy="3215788"/>
            </a:xfrm>
            <a:prstGeom prst="roundRect">
              <a:avLst>
                <a:gd name="adj" fmla="val 4914"/>
              </a:avLst>
            </a:prstGeom>
            <a:solidFill>
              <a:schemeClr val="bg1"/>
            </a:solidFill>
            <a:ln>
              <a:noFill/>
            </a:ln>
            <a:effectLst>
              <a:outerShdw blurRad="76200" sx="101000" sy="101000" algn="tr" rotWithShape="0">
                <a:schemeClr val="tx1"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82800" rIns="90000" bIns="82800" rtlCol="0" anchor="t"/>
            <a:lstStyle>
              <a:lvl1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lvl="2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lvl="3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5pPr>
              <a:lvl6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6pPr>
              <a:lvl7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504000" lvl="7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arenR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lvl="8" indent="0" algn="l" defTabSz="203200" rtl="0" eaLnBrk="1" latinLnBrk="0" hangingPunct="1">
                <a:lnSpc>
                  <a:spcPct val="105000"/>
                </a:lnSpc>
                <a:spcBef>
                  <a:spcPts val="1800"/>
                </a:spcBef>
                <a:spcAft>
                  <a:spcPts val="0"/>
                </a:spcAft>
                <a:buFontTx/>
                <a:buNone/>
                <a:defRPr lang="en-US" sz="2000" kern="1200" baseline="0" noProof="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400"/>
                </a:spcBef>
                <a:buNone/>
              </a:pPr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empower charts</a:t>
              </a:r>
              <a:endParaRPr lang="en-US" sz="1000" b="1" dirty="0">
                <a:solidFill>
                  <a:schemeClr val="accent2"/>
                </a:solidFill>
                <a:latin typeface="+mj-lt"/>
              </a:endParaRPr>
            </a:p>
            <a:p>
              <a:pPr marL="108000" lvl="1" indent="-108000">
                <a:spcBef>
                  <a:spcPts val="400"/>
                </a:spcBef>
              </a:pPr>
              <a:r>
                <a:rPr lang="en-US" sz="900" dirty="0"/>
                <a:t>Automatic agenda tool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Access to insert library design element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Insert empower® charts and Excel link tool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Insert additional elements and shapes</a:t>
              </a:r>
            </a:p>
            <a:p>
              <a:pPr marL="108000" lvl="1" indent="-108000">
                <a:spcBef>
                  <a:spcPts val="400"/>
                </a:spcBef>
              </a:pPr>
              <a:endParaRPr lang="en-US" sz="900" dirty="0"/>
            </a:p>
          </p:txBody>
        </p:sp>
        <p:pic>
          <p:nvPicPr>
            <p:cNvPr id="12" name="Play Button Circled">
              <a:hlinkClick r:id="rId47" tooltip="empower ribbon - Insert"/>
              <a:extLst>
                <a:ext uri="{FF2B5EF4-FFF2-40B4-BE49-F238E27FC236}">
                  <a16:creationId xmlns:a16="http://schemas.microsoft.com/office/drawing/2014/main" id="{7822BFBE-C65F-5213-82F8-3906620023D1}"/>
                </a:ext>
              </a:extLst>
            </p:cNvPr>
            <p:cNvPicPr/>
            <p:nvPr>
              <p:custDataLst>
                <p:tags r:id="rId36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4888029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05B3E68-24FE-9A6B-E471-3A59E816B05E}"/>
              </a:ext>
            </a:extLst>
          </p:cNvPr>
          <p:cNvGrpSpPr/>
          <p:nvPr/>
        </p:nvGrpSpPr>
        <p:grpSpPr>
          <a:xfrm>
            <a:off x="2909146" y="5599113"/>
            <a:ext cx="1080000" cy="424136"/>
            <a:chOff x="2909146" y="5599113"/>
            <a:chExt cx="1080000" cy="424136"/>
          </a:xfrm>
        </p:grpSpPr>
        <p:sp>
          <p:nvSpPr>
            <p:cNvPr id="26" name="Rounded box full half">
              <a:hlinkClick r:id="rId48" tooltip="empower® ribbon - Insert"/>
              <a:extLst>
                <a:ext uri="{FF2B5EF4-FFF2-40B4-BE49-F238E27FC236}">
                  <a16:creationId xmlns:a16="http://schemas.microsoft.com/office/drawing/2014/main" id="{67CAF865-6520-9985-63B9-20A24C1E661F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2909146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27" name="Play Button Circled">
              <a:hlinkClick r:id="rId48" tooltip="empower ribbon - Insert"/>
              <a:extLst>
                <a:ext uri="{FF2B5EF4-FFF2-40B4-BE49-F238E27FC236}">
                  <a16:creationId xmlns:a16="http://schemas.microsoft.com/office/drawing/2014/main" id="{34CB6FFE-58A9-00E0-DE29-F49CF588B173}"/>
                </a:ext>
              </a:extLst>
            </p:cNvPr>
            <p:cNvPicPr/>
            <p:nvPr>
              <p:custDataLst>
                <p:tags r:id="rId34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2975894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0E7F88D-8B6D-9612-008A-67D74BF76FA0}"/>
              </a:ext>
            </a:extLst>
          </p:cNvPr>
          <p:cNvGrpSpPr/>
          <p:nvPr/>
        </p:nvGrpSpPr>
        <p:grpSpPr>
          <a:xfrm>
            <a:off x="1730004" y="5599113"/>
            <a:ext cx="1080000" cy="424136"/>
            <a:chOff x="1730004" y="5599113"/>
            <a:chExt cx="1080000" cy="424136"/>
          </a:xfrm>
        </p:grpSpPr>
        <p:sp>
          <p:nvSpPr>
            <p:cNvPr id="29" name="Rounded box full half">
              <a:hlinkClick r:id="rId49" tooltip="empower® ribbon - Text and Colour"/>
              <a:extLst>
                <a:ext uri="{FF2B5EF4-FFF2-40B4-BE49-F238E27FC236}">
                  <a16:creationId xmlns:a16="http://schemas.microsoft.com/office/drawing/2014/main" id="{42648C32-99F6-5789-A2E1-594F78A54A7C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1730004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30" name="Play Button Circled">
              <a:hlinkClick r:id="rId49" tooltip="empower ribbon - Text and Colour"/>
              <a:extLst>
                <a:ext uri="{FF2B5EF4-FFF2-40B4-BE49-F238E27FC236}">
                  <a16:creationId xmlns:a16="http://schemas.microsoft.com/office/drawing/2014/main" id="{38E776C2-1836-9D6F-476F-5E5CFA1AA6C2}"/>
                </a:ext>
              </a:extLst>
            </p:cNvPr>
            <p:cNvPicPr/>
            <p:nvPr>
              <p:custDataLst>
                <p:tags r:id="rId32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1796752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FFBFCFD-93CE-1032-8422-D0416DA87895}"/>
              </a:ext>
            </a:extLst>
          </p:cNvPr>
          <p:cNvGrpSpPr/>
          <p:nvPr/>
        </p:nvGrpSpPr>
        <p:grpSpPr>
          <a:xfrm>
            <a:off x="7022571" y="5599113"/>
            <a:ext cx="1080000" cy="424136"/>
            <a:chOff x="7022571" y="5599113"/>
            <a:chExt cx="1080000" cy="424136"/>
          </a:xfrm>
        </p:grpSpPr>
        <p:sp>
          <p:nvSpPr>
            <p:cNvPr id="33" name="Rounded box full half">
              <a:hlinkClick r:id="rId50" tooltip="empower® ribbon - Align Layout tools"/>
              <a:extLst>
                <a:ext uri="{FF2B5EF4-FFF2-40B4-BE49-F238E27FC236}">
                  <a16:creationId xmlns:a16="http://schemas.microsoft.com/office/drawing/2014/main" id="{AF231A0E-616C-0ED5-FEA4-35BF5D8B038C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022571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34" name="Play Button Circled">
              <a:hlinkClick r:id="rId50" tooltip="empower ribbon - Align Linking Tools"/>
              <a:extLst>
                <a:ext uri="{FF2B5EF4-FFF2-40B4-BE49-F238E27FC236}">
                  <a16:creationId xmlns:a16="http://schemas.microsoft.com/office/drawing/2014/main" id="{FCB2F129-A381-4F57-6CC7-7AFF2071EB25}"/>
                </a:ext>
              </a:extLst>
            </p:cNvPr>
            <p:cNvPicPr/>
            <p:nvPr>
              <p:custDataLst>
                <p:tags r:id="rId30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7089319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26277E5-DC8A-CFFD-208C-71B039786F90}"/>
              </a:ext>
            </a:extLst>
          </p:cNvPr>
          <p:cNvGrpSpPr/>
          <p:nvPr/>
        </p:nvGrpSpPr>
        <p:grpSpPr>
          <a:xfrm>
            <a:off x="8201715" y="5599113"/>
            <a:ext cx="1080000" cy="424136"/>
            <a:chOff x="8201715" y="5599113"/>
            <a:chExt cx="1080000" cy="424136"/>
          </a:xfrm>
        </p:grpSpPr>
        <p:sp>
          <p:nvSpPr>
            <p:cNvPr id="37" name="Rounded box full half">
              <a:hlinkClick r:id="rId51" tooltip="empower® ribbon - Finalize"/>
              <a:extLst>
                <a:ext uri="{FF2B5EF4-FFF2-40B4-BE49-F238E27FC236}">
                  <a16:creationId xmlns:a16="http://schemas.microsoft.com/office/drawing/2014/main" id="{ADC090CC-2EDA-62CC-52CE-619B46220EF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8201715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38" name="Play Button Circled">
              <a:hlinkClick r:id="rId51" tooltip="empower ribbon - Finalize"/>
              <a:extLst>
                <a:ext uri="{FF2B5EF4-FFF2-40B4-BE49-F238E27FC236}">
                  <a16:creationId xmlns:a16="http://schemas.microsoft.com/office/drawing/2014/main" id="{1B63CF82-9C00-8BC7-9206-D2258F06D749}"/>
                </a:ext>
              </a:extLst>
            </p:cNvPr>
            <p:cNvPicPr/>
            <p:nvPr>
              <p:custDataLst>
                <p:tags r:id="rId28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8268463" y="5721181"/>
              <a:ext cx="180000" cy="180000"/>
            </a:xfrm>
            <a:prstGeom prst="rect">
              <a:avLst/>
            </a:prstGeom>
          </p:spPr>
        </p:pic>
      </p:grpSp>
      <p:sp>
        <p:nvSpPr>
          <p:cNvPr id="40" name="Rounded box full half">
            <a:hlinkClick r:id="rId51" tooltip="empower® ribbon - Help"/>
            <a:extLst>
              <a:ext uri="{FF2B5EF4-FFF2-40B4-BE49-F238E27FC236}">
                <a16:creationId xmlns:a16="http://schemas.microsoft.com/office/drawing/2014/main" id="{43151D96-AB87-BD60-CB7F-F14DB2D2FAD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9380855" y="5599113"/>
            <a:ext cx="1080000" cy="424136"/>
          </a:xfrm>
          <a:prstGeom prst="roundRect">
            <a:avLst>
              <a:gd name="adj" fmla="val 12089"/>
            </a:avLst>
          </a:prstGeom>
          <a:solidFill>
            <a:schemeClr val="accent1"/>
          </a:solidFill>
          <a:ln>
            <a:noFill/>
          </a:ln>
          <a:effectLst>
            <a:outerShdw blurRad="635000" dist="190500" dir="7200000" sx="105000" sy="105000" algn="tr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82800" rIns="0" bIns="82800" rtlCol="0" anchor="ctr"/>
          <a:lstStyle/>
          <a:p>
            <a:pPr marL="216000">
              <a:lnSpc>
                <a:spcPct val="105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000" b="1">
                <a:solidFill>
                  <a:schemeClr val="bg1"/>
                </a:solidFill>
                <a:latin typeface="Segoe UI Semibold" panose="020B0702040204020203" pitchFamily="34" charset="0"/>
              </a:rPr>
              <a:t>Click HERE</a:t>
            </a:r>
          </a:p>
        </p:txBody>
      </p:sp>
      <p:pic>
        <p:nvPicPr>
          <p:cNvPr id="42" name="Play Button Circled">
            <a:hlinkClick r:id="rId51" tooltip="empower ribbon - Help"/>
            <a:extLst>
              <a:ext uri="{FF2B5EF4-FFF2-40B4-BE49-F238E27FC236}">
                <a16:creationId xmlns:a16="http://schemas.microsoft.com/office/drawing/2014/main" id="{0D6D4543-21BB-B070-5F3B-6880848196A2}"/>
              </a:ext>
            </a:extLst>
          </p:cNvPr>
          <p:cNvPicPr/>
          <p:nvPr>
            <p:custDataLst>
              <p:tags r:id="rId18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9447603" y="5721181"/>
            <a:ext cx="180000" cy="180000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46E59754-95D4-F2F8-4711-C164CEF1ECCB}"/>
              </a:ext>
            </a:extLst>
          </p:cNvPr>
          <p:cNvGrpSpPr/>
          <p:nvPr/>
        </p:nvGrpSpPr>
        <p:grpSpPr>
          <a:xfrm>
            <a:off x="10560002" y="5599113"/>
            <a:ext cx="1080000" cy="424136"/>
            <a:chOff x="10560002" y="5599113"/>
            <a:chExt cx="1080000" cy="424136"/>
          </a:xfrm>
        </p:grpSpPr>
        <p:sp>
          <p:nvSpPr>
            <p:cNvPr id="45" name="Rounded box full half">
              <a:hlinkClick r:id="rId52" tooltip="empower® ribbon - AI Assistant"/>
              <a:extLst>
                <a:ext uri="{FF2B5EF4-FFF2-40B4-BE49-F238E27FC236}">
                  <a16:creationId xmlns:a16="http://schemas.microsoft.com/office/drawing/2014/main" id="{9396C98B-CBB9-4D2F-6C75-EBDC44F52AF5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10560002" y="5599113"/>
              <a:ext cx="1080000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47" name="Play Button Circled">
              <a:hlinkClick r:id="rId52" tooltip="empower ribbon - AI Assistant"/>
              <a:extLst>
                <a:ext uri="{FF2B5EF4-FFF2-40B4-BE49-F238E27FC236}">
                  <a16:creationId xmlns:a16="http://schemas.microsoft.com/office/drawing/2014/main" id="{0C8674E2-FAAF-C0C6-B6FA-8A546197CF4D}"/>
                </a:ext>
              </a:extLst>
            </p:cNvPr>
            <p:cNvPicPr/>
            <p:nvPr>
              <p:custDataLst>
                <p:tags r:id="rId26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10626750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BD62D9-163D-7FA8-AC2A-4E6C1BF399C7}"/>
              </a:ext>
            </a:extLst>
          </p:cNvPr>
          <p:cNvGrpSpPr/>
          <p:nvPr/>
        </p:nvGrpSpPr>
        <p:grpSpPr>
          <a:xfrm>
            <a:off x="4088287" y="5599113"/>
            <a:ext cx="1367997" cy="424136"/>
            <a:chOff x="4088287" y="5599113"/>
            <a:chExt cx="1367997" cy="424136"/>
          </a:xfrm>
        </p:grpSpPr>
        <p:sp>
          <p:nvSpPr>
            <p:cNvPr id="49" name="Rounded box full half">
              <a:hlinkClick r:id="rId53" tooltip="empower® ribbon - Charts"/>
              <a:extLst>
                <a:ext uri="{FF2B5EF4-FFF2-40B4-BE49-F238E27FC236}">
                  <a16:creationId xmlns:a16="http://schemas.microsoft.com/office/drawing/2014/main" id="{B0DA0A4B-283A-746C-A696-EB966DF7E74F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4088287" y="5599113"/>
              <a:ext cx="1367997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50" name="Play Button Circled">
              <a:hlinkClick r:id="rId53" tooltip="empower ribbon - Charts"/>
              <a:extLst>
                <a:ext uri="{FF2B5EF4-FFF2-40B4-BE49-F238E27FC236}">
                  <a16:creationId xmlns:a16="http://schemas.microsoft.com/office/drawing/2014/main" id="{4F258A18-11A8-F0C8-5F3A-CE61596B1154}"/>
                </a:ext>
              </a:extLst>
            </p:cNvPr>
            <p:cNvPicPr/>
            <p:nvPr>
              <p:custDataLst>
                <p:tags r:id="rId24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4155036" y="5721181"/>
              <a:ext cx="180000" cy="180000"/>
            </a:xfrm>
            <a:prstGeom prst="rect">
              <a:avLst/>
            </a:prstGeom>
          </p:spPr>
        </p:pic>
      </p:grp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FFB6E8E-C8BA-E12B-938B-FCEA8B5A945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41015" y="2393050"/>
            <a:ext cx="591671" cy="237157"/>
          </a:xfrm>
          <a:prstGeom prst="bentConnector3">
            <a:avLst>
              <a:gd name="adj1" fmla="val 23103"/>
            </a:avLst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460F58BA-C2DE-A52D-88C6-B0F8788A3C2F}"/>
              </a:ext>
            </a:extLst>
          </p:cNvPr>
          <p:cNvSpPr/>
          <p:nvPr/>
        </p:nvSpPr>
        <p:spPr>
          <a:xfrm>
            <a:off x="5568872" y="2128838"/>
            <a:ext cx="163990" cy="1512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91F7B89-61E2-B3C4-4831-A1C3B4F7EE22}"/>
              </a:ext>
            </a:extLst>
          </p:cNvPr>
          <p:cNvSpPr/>
          <p:nvPr/>
        </p:nvSpPr>
        <p:spPr>
          <a:xfrm>
            <a:off x="6560338" y="1725613"/>
            <a:ext cx="130468" cy="1512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 defTabSz="4860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AA0EAD38-3BDD-DEAC-AC4A-6AA5A8439E13}"/>
              </a:ext>
            </a:extLst>
          </p:cNvPr>
          <p:cNvCxnSpPr>
            <a:cxnSpLocks/>
            <a:endCxn id="32" idx="1"/>
          </p:cNvCxnSpPr>
          <p:nvPr/>
        </p:nvCxnSpPr>
        <p:spPr>
          <a:xfrm rot="5400000" flipH="1" flipV="1">
            <a:off x="6031090" y="2278215"/>
            <a:ext cx="1006244" cy="52251"/>
          </a:xfrm>
          <a:prstGeom prst="bentConnector2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50A93A9-9DAC-73FF-260A-ACBC4B95E720}"/>
              </a:ext>
            </a:extLst>
          </p:cNvPr>
          <p:cNvGrpSpPr/>
          <p:nvPr/>
        </p:nvGrpSpPr>
        <p:grpSpPr>
          <a:xfrm>
            <a:off x="5555430" y="2807463"/>
            <a:ext cx="1368000" cy="3215788"/>
            <a:chOff x="4850777" y="2807463"/>
            <a:chExt cx="1368000" cy="3215788"/>
          </a:xfrm>
        </p:grpSpPr>
        <p:sp>
          <p:nvSpPr>
            <p:cNvPr id="21" name="Rounded box full half">
              <a:extLst>
                <a:ext uri="{FF2B5EF4-FFF2-40B4-BE49-F238E27FC236}">
                  <a16:creationId xmlns:a16="http://schemas.microsoft.com/office/drawing/2014/main" id="{9C0A7242-BA93-FF6D-3354-088689CA1964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4850777" y="2807463"/>
              <a:ext cx="1368000" cy="3215788"/>
            </a:xfrm>
            <a:prstGeom prst="roundRect">
              <a:avLst>
                <a:gd name="adj" fmla="val 4914"/>
              </a:avLst>
            </a:prstGeom>
            <a:solidFill>
              <a:schemeClr val="bg1"/>
            </a:solidFill>
            <a:ln>
              <a:noFill/>
            </a:ln>
            <a:effectLst>
              <a:outerShdw blurRad="76200" sx="101000" sy="101000" algn="tr" rotWithShape="0">
                <a:schemeClr val="tx1"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82800" rIns="90000" bIns="82800" rtlCol="0" anchor="t"/>
            <a:lstStyle>
              <a:lvl1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2000" lvl="1" indent="-252000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4000" lvl="2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56000" lvl="3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Symbol" panose="05050102010706020507" pitchFamily="18" charset="2"/>
                <a:buChar char="-"/>
                <a:defRPr lang="en-US" sz="1800" kern="12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5pPr>
              <a:lvl6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6pPr>
              <a:lvl7pPr marL="250825" lvl="6" indent="-250825" algn="l" defTabSz="203200" rtl="0" eaLnBrk="1" latinLnBrk="0" hangingPunct="1">
                <a:lnSpc>
                  <a:spcPct val="105000"/>
                </a:lnSpc>
                <a:spcBef>
                  <a:spcPts val="1200"/>
                </a:spcBef>
                <a:spcAft>
                  <a:spcPts val="0"/>
                </a:spcAft>
                <a:buFont typeface="+mj-lt"/>
                <a:buAutoNum type="arabicPeriod"/>
                <a:defRPr lang="en-US" sz="1800" b="0" kern="1200" baseline="0" noProof="0" dirty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504000" lvl="7" indent="-252000" algn="l" defTabSz="2032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arenR"/>
                <a:defRPr lang="en-US" sz="1800" kern="1200" baseline="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lvl="8" indent="0" algn="l" defTabSz="203200" rtl="0" eaLnBrk="1" latinLnBrk="0" hangingPunct="1">
                <a:lnSpc>
                  <a:spcPct val="105000"/>
                </a:lnSpc>
                <a:spcBef>
                  <a:spcPts val="1800"/>
                </a:spcBef>
                <a:spcAft>
                  <a:spcPts val="0"/>
                </a:spcAft>
                <a:buFontTx/>
                <a:buNone/>
                <a:defRPr lang="en-US" sz="2000" kern="1200" baseline="0" noProof="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400"/>
                </a:spcBef>
                <a:buNone/>
              </a:pPr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Excel-Link</a:t>
              </a:r>
              <a:endParaRPr lang="en-US" sz="1000" b="1" dirty="0">
                <a:solidFill>
                  <a:schemeClr val="accent2"/>
                </a:solidFill>
                <a:latin typeface="+mj-lt"/>
              </a:endParaRPr>
            </a:p>
            <a:p>
              <a:pPr marL="108000" lvl="1" indent="-108000">
                <a:spcBef>
                  <a:spcPts val="400"/>
                </a:spcBef>
              </a:pPr>
              <a:r>
                <a:rPr lang="en-US" sz="900" dirty="0"/>
                <a:t>Automatic agenda tool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Access to insert library design element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Insert empower® charts and Excel link tools</a:t>
              </a:r>
            </a:p>
            <a:p>
              <a:pPr marL="108000" lvl="1" indent="-108000">
                <a:spcBef>
                  <a:spcPts val="600"/>
                </a:spcBef>
              </a:pPr>
              <a:r>
                <a:rPr lang="en-US" sz="900" dirty="0"/>
                <a:t>Insert additional elements and shapes</a:t>
              </a:r>
            </a:p>
            <a:p>
              <a:pPr marL="108000" lvl="1" indent="-108000">
                <a:spcBef>
                  <a:spcPts val="400"/>
                </a:spcBef>
              </a:pPr>
              <a:endParaRPr lang="en-US" sz="900" dirty="0"/>
            </a:p>
          </p:txBody>
        </p:sp>
        <p:pic>
          <p:nvPicPr>
            <p:cNvPr id="22" name="Play Button Circled">
              <a:hlinkClick r:id="rId47" tooltip="empower ribbon - Insert"/>
              <a:extLst>
                <a:ext uri="{FF2B5EF4-FFF2-40B4-BE49-F238E27FC236}">
                  <a16:creationId xmlns:a16="http://schemas.microsoft.com/office/drawing/2014/main" id="{27A92277-A67B-F343-51C5-23E6F3EDFBBB}"/>
                </a:ext>
              </a:extLst>
            </p:cNvPr>
            <p:cNvPicPr/>
            <p:nvPr>
              <p:custDataLst>
                <p:tags r:id="rId22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4888029" y="5721181"/>
              <a:ext cx="180000" cy="18000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AD7493C-7608-949E-D874-2D44501E1E87}"/>
              </a:ext>
            </a:extLst>
          </p:cNvPr>
          <p:cNvGrpSpPr/>
          <p:nvPr/>
        </p:nvGrpSpPr>
        <p:grpSpPr>
          <a:xfrm>
            <a:off x="5555430" y="5599113"/>
            <a:ext cx="1367996" cy="424136"/>
            <a:chOff x="5555430" y="5599113"/>
            <a:chExt cx="1367996" cy="424136"/>
          </a:xfrm>
        </p:grpSpPr>
        <p:sp>
          <p:nvSpPr>
            <p:cNvPr id="52" name="Rounded box full half">
              <a:hlinkClick r:id="rId54" tooltip="empower® ribbon - Excel Linking"/>
              <a:extLst>
                <a:ext uri="{FF2B5EF4-FFF2-40B4-BE49-F238E27FC236}">
                  <a16:creationId xmlns:a16="http://schemas.microsoft.com/office/drawing/2014/main" id="{E994362F-E109-F06C-BE74-CF6D63071FE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5555430" y="5599113"/>
              <a:ext cx="1367996" cy="424136"/>
            </a:xfrm>
            <a:prstGeom prst="roundRect">
              <a:avLst>
                <a:gd name="adj" fmla="val 12089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0" dist="190500" dir="7200000" sx="105000" sy="105000" algn="tr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2800" rIns="0" bIns="82800" rtlCol="0" anchor="ctr"/>
            <a:lstStyle/>
            <a:p>
              <a:pPr marL="216000">
                <a:lnSpc>
                  <a:spcPct val="105000"/>
                </a:lnSpc>
                <a:spcBef>
                  <a:spcPts val="600"/>
                </a:spcBef>
                <a:buClr>
                  <a:schemeClr val="accent1"/>
                </a:buClr>
                <a:buSzPct val="100000"/>
              </a:pPr>
              <a:r>
                <a:rPr lang="en-US" sz="1000" b="1" dirty="0">
                  <a:solidFill>
                    <a:schemeClr val="bg1"/>
                  </a:solidFill>
                  <a:latin typeface="Segoe UI Semibold" panose="020B0702040204020203" pitchFamily="34" charset="0"/>
                </a:rPr>
                <a:t>Click HERE</a:t>
              </a:r>
            </a:p>
          </p:txBody>
        </p:sp>
        <p:pic>
          <p:nvPicPr>
            <p:cNvPr id="56" name="Play Button Circled">
              <a:hlinkClick r:id="rId54" tooltip="empower ribbon - Excel Linking"/>
              <a:extLst>
                <a:ext uri="{FF2B5EF4-FFF2-40B4-BE49-F238E27FC236}">
                  <a16:creationId xmlns:a16="http://schemas.microsoft.com/office/drawing/2014/main" id="{A14CB715-6A4B-582D-4305-453C3C466B78}"/>
                </a:ext>
              </a:extLst>
            </p:cNvPr>
            <p:cNvPicPr/>
            <p:nvPr>
              <p:custDataLst>
                <p:tags r:id="rId20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5622178" y="5721181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221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XHekBT8OFKnYsp3S6sb0YEAAAAAAADAAAAAAADAAAAAwADAAIA////////BQAAAAMAEAALUxFzWTNQgUCZ6QEWSfWriQQAAAABAAMAAAACAAMAAAAEAAMAAAAAAP///////wQAAQD///////8FAAAABAAQAAscGWK7VcN6RrA3LWwe4T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Rcd6QFPw4UqdiyndLqxvRgNEYXRhABsAAAAETGlua2VkU2hhcGVEYXRhAAUAAAAAAAJOYW1lABkAAABMaW5rZWRTaGFwZXNEYXRhUHJvcGVydHkAEFZlcnNpb24AAAAAAAlMYXN0V3JpdGUAFhq5uoEBAAAAAQD/////xgDGAAAABV9pZAAQAAAABFMRc1kzUIFAmekBFkn1q4kDRGF0YQBTAAAACFByZXNlbnRhdGlvblNjYW5uZWRGb3JMaW5rZWRTaGFwZXMAAQJOdW1iZXJGb3JtYXRTZXBhcmF0b3JNb2RlAAoAAABBdXRvbWF0aWMAAAJOYW1lACQAAABMaW5rZWRTaGFwZVByZXNlbnRhdGlvblNldHRpbmdzRGF0YQAQVmVyc2lvbgAAAAAACUxhc3RXcml0ZQBiGrm6gQEAAAACAP////+DAIMAAAAFX2lkABAAAAAEHBliu1XDekawNy1sHuE03QNEYXRhABsAAAAETGlua2VkU2hhcGVEYXRhAAUAAAAAAAJOYW1lABkAAABMaW5rZWRTaGFwZXNEYXRhUHJvcGVydHkAEFZlcnNpb24AAQAAAAlMYXN0V3JpdGUAJfd5PY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AwAFAAAABAADAAIBAwAAAAMA////////JQAGTGlua2VkU2hhcGVQcmVzZW50YXRpb25TZXR0aW5nc0RhdGFfMAQAAAABAAUAAAAAAAUAAAACAAUAAAAAAP///////w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17302198379509"/>
  <p:tag name="EMPOWERCHARTSPROPERTIES_A_LENGTH" val="24576"/>
  <p:tag name="MIO_CONTENTTAG" val="cOr3Mw2dzUmAUn4Gm+jxJQ=="/>
  <p:tag name="MIO_PRESENTATION_LANGUAGE" val="1033"/>
  <p:tag name="COAUTHORING_SESSION_ID" val="838da704-7b3d-4dc5-896c-6490bf167a8f"/>
  <p:tag name="UNDO_REDO_REVISION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ba3e29-3e69-460f-adc3-59bbb9830f62"/>
  <p:tag name="MIO_GUID" val="2542927e-b0ca-428c-91a8-fa3fc546aa23"/>
  <p:tag name="MIO_UPDATE" val="True"/>
  <p:tag name="MIO_VERSION" val="14.08.2022 19:59:51"/>
  <p:tag name="MIO_DBID" val="0F45B44C-9BC7-4D85-81C4-7155EE70A7B9"/>
  <p:tag name="MIO_LASTDOWNLOADED" val="21.08.2022 23:47:20.540"/>
  <p:tag name="MIO_OBJECTNAME" val="Picture 6"/>
  <p:tag name="MIO_LASTEDITORNAME" val="Stephan Kuhne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cec0dfc-4a44-44f6-978f-b504e8a3607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04ed5cf-6c48-4d54-8d46-913f005230a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6816b03-ae5d-48cd-b62a-74db6d3794d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b089335-c795-4c42-a409-a48c29222b7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0faea88-dee1-499f-b033-9d117f5b62e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3102da8-b61b-4579-87a7-1bc569ccf33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173d650-7582-461a-8871-f4c96ef01da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5fcc56b-e2d8-40db-a574-e582a08fb3d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20d12df-2625-4f58-a022-a72a56a9b70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EMBED_FONT" val="False"/>
  <p:tag name="MIO_SKIPVERSION" val="01.01.0001 00:00:00"/>
  <p:tag name="MIO_EKGUID" val="5e582455-eb90-4e8e-ac43-43a20fda9484"/>
  <p:tag name="MIO_DBID" val="B8FCB12D-AF03-49EB-9F79-BB019BE99E1E"/>
  <p:tag name="MIO_OBJECTNAME" val="empower Blue 2023"/>
  <p:tag name="MIO_CD_LAYOUT_VALID_AREA" val="False"/>
  <p:tag name="MIO_FALLBACK_LAYOUT" val="14"/>
  <p:tag name="MIO_AVOID_BLANK_LAYOUT" val="False"/>
  <p:tag name="MIO_MATCH_COLOR_SCHEME" val="False"/>
  <p:tag name="MIO_SHOW_DATE" val="False"/>
  <p:tag name="MIO_SHOW_FOOTER" val="False"/>
  <p:tag name="MIO_SHOW_PAGENUMBER" val="False"/>
  <p:tag name="MIO_NUMBER_OF_VALID_LAYOUTS" val="100"/>
  <p:tag name="MIO_VERSION" val="22.05.2024 11:35:55"/>
  <p:tag name="MIO_LASTDOWNLOADED" val="22.05.2024 12:38:35.043"/>
  <p:tag name="MIO_CONTENTTAG" val="Ul7saRY/Hk+gDi560B268g=="/>
  <p:tag name="MIO_CDID" val="7e112968-5c67-4980-b6c7-7641b44321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1390869-dd2b-4b54-8384-1082ec8de35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990c8c1c-5e1e-499c-a8cd-f18b0ae4014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22fc65b5-2423-4382-aaa7-859022d4049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59d82215-5370-4ece-a711-d34a4a54b61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00dd9aa3-fe1e-4f2b-8d5a-4d336fda150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a5f4d0e-927c-4d1f-91c5-9df45d4f4484"/>
  <p:tag name="MIO_GUID" val="d2cb184c-631a-45aa-810d-f1f45b7801c6"/>
  <p:tag name="MIO_UPDATE" val="True"/>
  <p:tag name="MIO_VERSION" val="07.10.2025 13:20:44"/>
  <p:tag name="MIO_DBID" val="B8FCB12D-AF03-49EB-9F79-BB019BE99E1E"/>
  <p:tag name="MIO_LASTDOWNLOADED" val="14.10.2025 12:08:27.426"/>
  <p:tag name="MIO_OBJECTNAME" val="_Footnotes - full width"/>
  <p:tag name="MIO_CONTENTTAG" val="FGmqpjiuDEagXkUS8BKUng=="/>
  <p:tag name="MIO_LASTEDITORNAME" val="Georgina DEMO"/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y/eAqIZ3JKo5YkwLBZ8TsEAAAAAAADAAAAAAADAAAABAADAAIA////////BQAAAAMAEAALcAow6bwjLk+WTh3Ud7Jc/wQAAAABAAMAAAAEAAMAAAABAAMAAAAEAP///////wQAAgD///////8FAAAABAAQAAtVATuwD9QqTKK2skbccjeQ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L94CohnckqjliTAsFnxOwREYXRhAAUAAAAAAk5hbWUADQAAAExpbmtEYXRhTGlzdAAQVmVyc2lvbgAAAAAACUxhc3RXcml0ZQBDd9W9kQEAAAABAP////9hAGEAAAAFX2lkABAAAAAEcAow6bwjLk+WTh3Ud7Jc/wREYXRhAAUAAAAAAk5hbWUADQAAAExpbmtEYXRhTGlzdAAQVmVyc2lvbgABAAAACUxhc3RXcml0ZQBEd9W9kQEAAAACAP////9wAHAAAAAFX2lkABAAAAAEVQE7sA/UKkyitrJG3HI3kANEYXRhABYAAAACUGVyc29uYWxJZAABAAAAAAACTmFtZQALAAAAUGVyc29uYWxJZAAQVmVyc2lvbgAAAAAACUxhc3RXcml0ZQBl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2807926"/>
  <p:tag name="EMPOWERCHARTSPROPERTIES_SLOT" val="B"/>
  <p:tag name="MIO_EK" val="3965"/>
  <p:tag name="MIO_SHAPETYPES_TEXTELEMENT" val="MIO_FOOTNOTE"/>
  <p:tag name="MIO_SKIP_CDCHECK" val="True"/>
  <p:tag name="RUNTIME_ID" val="deaf5a15-03f1-4327-9456-e9c387498b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WN_MIGRATION_INITIAL_LAYOUT_REQUIRED" val="9.2.99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ZkFxRERwJAjzK6lvKP9JwEAAAAAAADAAAAAAADAAAABAADAAAAAAD///////8DAAAAAAD///////8DAAEA////////BQAAAAMAEAAL7Xfng5PnIE+kzidTYB5AhgQAAAABAAMAAAAEAAMAAAABAAQAAQD///////8FAAAABAAQAAu4myxP0aqeRaOhvIJCQFH+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mQXFERHAkCPMrqW8o/0nAREYXRhAAUAAAAAAk5hbWUADQAAAExpbmtEYXRhTGlzdAAQVmVyc2lvbgAAAAAACUxhc3RXcml0ZQDpdtW9kQEAAAABAP////9hAGEAAAAFX2lkABAAAAAE7Xfng5PnIE+kzidTYB5AhgREYXRhAAUAAAAAAk5hbWUADQAAAExpbmtEYXRhTGlzdAAQVmVyc2lvbgABAAAACUxhc3RXcml0ZQDudtW9kQEAAAACAP////9wAHAAAAAFX2lkABAAAAAEuJssT9GqnkWjobyCQkBR/gNEYXRhABYAAAACUGVyc29uYWxJZAABAAAAAAACTmFtZQALAAAAUGVyc29uYWxJZAAQVmVyc2lvbgAAAAAACUxhc3RXcml0ZQAId9W9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BAAFAAAAAAD///////8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LASTWRITEDATE" val="638610635691820645"/>
  <p:tag name="EMPOWERCHARTSPROPERTIES_SLOT" val="B"/>
  <p:tag name="RUNTIME_ID" val="b29ca01e-8184-4e64-b066-ff1d8f52ddd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6ca25e35-f5b8-4336-ad23-e847489f295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FALLBACK_LAYOUT" val="14"/>
  <p:tag name="MIO_EKGUID" val="5e582455-eb90-4e8e-ac43-43a20fda9484"/>
  <p:tag name="MIO_DBID" val="B8FCB12D-AF03-49EB-9F79-BB019BE99E1E"/>
  <p:tag name="MIO_OBJECTNAME" val="empower"/>
  <p:tag name="MIO_NUMBER_OF_VALID_LAYOUTS" val="60"/>
  <p:tag name="MIO_VERSION" val="02.12.2025 12:24:57"/>
  <p:tag name="MIO_LASTDOWNLOADED" val="10.12.2025 09:29:59.048"/>
  <p:tag name="MIO_CONTENTTAG" val="8eEyscyRc0iGl8dVN5tohA=="/>
  <p:tag name="MIO_CDID" val="7e112968-5c67-4980-b6c7-7641b44321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2bfc8e6-f849-48d1-b249-01cf53b68e8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d95b8a0c-45f7-4b2a-87d5-c32f825063b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3bc799e2-3472-41eb-bc8b-40bf27aad1a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b1014bd5-b3be-4384-80dd-4f4a65765e6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f423c817-299d-4143-9280-64d9b514d67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1f85d76-10ec-4230-9c28-c6ad8c8de29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416e8390-074d-4372-b281-2f0f8f20aa0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2bfc8e6-f849-48d1-b249-01cf53b68e8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c2bfc8e6-f849-48d1-b249-01cf53b68e8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a566f9-fe5b-44c5-8ea0-02a3b0540ebc"/>
  <p:tag name="MIO_EKGUID" val="053283d5-4c74-45c8-82ee-6dee41ba228e"/>
  <p:tag name="MIO_UPDATE" val="True"/>
  <p:tag name="MIO_VERSION" val="11.06.2025 10:57:18"/>
  <p:tag name="MIO_DBID" val="B8FCB12D-AF03-49EB-9F79-BB019BE99E1E"/>
  <p:tag name="MIO_LASTDOWNLOADED" val="14.10.2025 12:13:44.189"/>
  <p:tag name="MIO_OBJECTNAME" val="Rounded box full half"/>
  <p:tag name="MIO_CONTENTTAG" val="b/34r2u4ZEiMn5A+8hY8qw=="/>
  <p:tag name="MIO_LASTEDITORNAME" val="Georgina DEMO"/>
  <p:tag name="RUNTIME_ID" val="a6bbce8b-e6a0-4413-a25a-98696f45eae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TEXTELEMENT" val="MIO_FOOTNOTE"/>
  <p:tag name="MIO_GUID" val="058c280e-5383-4d49-941a-32b5000483ea"/>
  <p:tag name="MIO_EK" val="3965"/>
  <p:tag name="MIO_SKIP_CDCHECK" val="True"/>
  <p:tag name="MIO_EKGUID" val="66631306-e1f1-4de6-86ed-78ed67ba2555"/>
  <p:tag name="MIO_UPDATE" val="True"/>
  <p:tag name="MIO_VERSION" val="06.05.2020 20:08:27"/>
  <p:tag name="MIO_DBID" val="0F45B44C-9BC7-4D85-81C4-7155EE70A7B9"/>
  <p:tag name="MIO_LASTDOWNLOADED" val="06.09.2022 11:56:12.398"/>
  <p:tag name="MIO_OBJECTNAME" val="1 Footnote"/>
  <p:tag name="MIO_LASTEDITORNAME" val="Stephan Kuhner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0000000-0000-0000-0000-000000000000"/>
  <p:tag name="MIO_GUID" val="d456f813-44ec-4857-8a51-6ff710dc5fb7"/>
  <p:tag name="MIO_UPDATE" val="True"/>
  <p:tag name="MIO_VERSION" val="01.01.0001 00:00:00"/>
  <p:tag name="MIO_DBID" val="0F45B44C-9BC7-4D85-81C4-7155EE70A7B9"/>
  <p:tag name="MIO_LASTDOWNLOADED" val="11.02.2021 08:34:17.528"/>
  <p:tag name="MIO_OBJECTNAME" val="Play Button Circled"/>
  <p:tag name="MIO_LASTEDITORNAME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n4YVTvKuVNmPtrwTtYIDUEAAAAAAADAAAAAAADAAAABAADAAAAAAADAAAABAADAAEA////////BQAAAAMAEAALkJk05d+pqUeLf42WK5s4YAQAAAABAAMAAAAEAAMAAAABAAQAAwD///////8FAAAABAAQAAtycYSRm0uuR4Xq3zyYuIdEBAAAAAIAAwAAAAIAAwAAAAM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fhhVO8q5U2Y+2vBO1ggNQREYXRhAAUAAAAAAk5hbWUADQAAAExpbmtEYXRhTGlzdAAQVmVyc2lvbgABAAAACUxhc3RXcml0ZQCqwYWAjwEAAAABAP////9hAGEAAAAFX2lkABAAAAAEkJk05d+pqUeLf42WK5s4YAREYXRhAAUAAAAAAk5hbWUADQAAAExpbmtEYXRhTGlzdAAQVmVyc2lvbgAAAAAACUxhc3RXcml0ZQCbwYWAjwEAAAACAP////9wAHAAAAAFX2lkABAAAAAEcnGEkZtLrkeF6t88mLiHRANEYXRhABYAAAACUGVyc29uYWxJZAABAAAAAAACTmFtZQALAAAAUGVyc29uYWxJZAAQVmVyc2lvbgAAAAAACUxhc3RXcml0ZQDrwYW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4450007044896"/>
  <p:tag name="EMPOWERCHARTSPROPERTIES_B_LENGTH" val="24576"/>
  <p:tag name="DOWN_MIGRATION_INITIAL_LAYOUT_REQUIRED" val="9.2.99"/>
  <p:tag name="RUNTIME_ID" val="cae05ed3-ef2e-4105-89ac-fd5b5a6b003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7rQxMX5BFOk4DkusvKymUEAAAAAAADAAAAAAADAAAAAwADAAIA////////BQAAAAMAEAAL5F7zVjS+8UaMsKQSLeOJVQQAAAABAAMAAAACAAMAAAAEAAMAAAAAAP///////wQAAQD///////8FAAAABAAQAAtHXxrn/IYbRI7t+vnX7F/2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utDExfkEU6TgOS6y8rKZQREYXRhAAUAAAAAAk5hbWUADQAAAExpbmtEYXRhTGlzdAAQVmVyc2lvbgABAAAACUxhc3RXcml0ZQBzP+8+jwEAAAABAP////9hAGEAAAAFX2lkABAAAAAE5F7zVjS+8UaMsKQSLeOJVQREYXRhAAUAAAAAAk5hbWUADQAAAExpbmtEYXRhTGlzdAAQVmVyc2lvbgAAAAAACUxhc3RXcml0ZQBwP+8+jwEAAAACAP////9wAHAAAAAFX2lkABAAAAAER18a5/yGG0SO7fr51+xf9gNEYXRhABYAAAACUGVyc29uYWxJZAABAAAAAAACTmFtZQALAAAAUGVyc29uYWxJZAAQVmVyc2lvbgAAAAAACUxhc3RXcml0ZQCLP+8+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3446178895955"/>
  <p:tag name="EMPOWERCHARTSPROPERTIES_B_LENGTH" val="24576"/>
  <p:tag name="DOWN_MIGRATION_INITIAL_LAYOUT_REQUIRED" val="9.2.99"/>
  <p:tag name="RUNTIME_ID" val="f06e3359-8379-47b6-9c22-633911c3113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p8BxkJPNROm++MrWxG2x0EAAAAAAADAAAAAAADAAAAAwADAAAAAAADAAAABAADAAEA////////BQAAAAMAEAALbb8qnUzDUUq6DAPDe4SgQgQAAAABAAMAAAACAAMAAAAEAAQAAwD///////8FAAAABAAQAAsqSRf6XAuLRIYsHm4wm6XPBAAAAAIAAwAAAAMAAwAAAAEAAwAAAAI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wHGQk81E6b74ytbEbbHQREYXRhAAUAAAAAAk5hbWUADQAAAExpbmtEYXRhTGlzdAAQVmVyc2lvbgAAAAAACUxhc3RXcml0ZQBJx/qfjwEAAAABAP////9hAGEAAAAFX2lkABAAAAAEbb8qnUzDUUq6DAPDe4SgQgREYXRhAAUAAAAAAk5hbWUADQAAAExpbmtEYXRhTGlzdAAQVmVyc2lvbgABAAAACUxhc3RXcml0ZQBKx/qfjwEAAAACAP////9wAHAAAAAFX2lkABAAAAAEKkkX+lwLi0SGLB5uMJulzwNEYXRhABYAAAACUGVyc29uYWxJZAABAAAAAAACTmFtZQALAAAAUGVyc29uYWxJZAAQVmVyc2lvbgAAAAAACUxhc3RXcml0ZQBnx/qf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19727635159092"/>
  <p:tag name="EMPOWERCHARTSPROPERTIES_B_LENGTH" val="24576"/>
  <p:tag name="DOWN_MIGRATION_INITIAL_LAYOUT_REQUIRED" val="9.2.99"/>
  <p:tag name="RUNTIME_ID" val="3238f02d-c838-4d92-b09b-2f7e20bf208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+s4AicNM31JqaRUdX+geQUEAAAAAAADAAAAAAADAAAABAADAAAAAAD///////8DAAAAAAD///////8DAAEA////////BQAAAAMAEAAL2v5hrC1Bf0O03o2AQ7UVUwQAAAABAAMAAAAEAAMAAAABAAQAAQD///////8FAAAABAAQAAtSH4tqPAbfT7DVJ42ZjUuG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6zgCJw0zfUmppFR1f6B5BQREYXRhAAUAAAAAAk5hbWUADQAAAExpbmtEYXRhTGlzdAAQVmVyc2lvbgABAAAACUxhc3RXcml0ZQC2bOHDjwEAAAABAP////9hAGEAAAAFX2lkABAAAAAE2v5hrC1Bf0O03o2AQ7UVUwREYXRhAAUAAAAAAk5hbWUADQAAAExpbmtEYXRhTGlzdAAQVmVyc2lvbgAAAAAACUxhc3RXcml0ZQCUbOHDjwEAAAACAP////9wAHAAAAAFX2lkABAAAAAEUh+LajwG30+w1SeNmY1LhgNEYXRhABYAAAACUGVyc29uYWxJZAABAAAAAAACTmFtZQALAAAAUGVyc29uYWxJZAAQVmVyc2lvbgAAAAAACUxhc3RXcml0ZQDNbOHD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AFAAAABAADAAEBAwAAAAMA////////DgAGTGlua0RhdGFMaXN0XzAEAAAAAQAFAAAAAAAFAAAAAgAEAAQBAwAAAAQA////////DAAGUGVyc29uYWxJZF8wBAAAAAIABQAAAAIABQAAAAEABQAAAAIA////////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5750816958870"/>
  <p:tag name="EMPOWERCHARTSPROPERTIES_B_LENGTH" val="24576"/>
  <p:tag name="DOWN_MIGRATION_INITIAL_LAYOUT_REQUIRED" val="9.2.99"/>
  <p:tag name="RUNTIME_ID" val="85dcdc83-010f-41ae-a9c9-ddd4d2883920"/>
</p:tagLst>
</file>

<file path=ppt/theme/theme1.xml><?xml version="1.0" encoding="utf-8"?>
<a:theme xmlns:a="http://schemas.openxmlformats.org/drawingml/2006/main" name="empower express">
  <a:themeElements>
    <a:clrScheme name="Empower">
      <a:dk1>
        <a:srgbClr val="3C3C3C"/>
      </a:dk1>
      <a:lt1>
        <a:sysClr val="window" lastClr="FFFFFF"/>
      </a:lt1>
      <a:dk2>
        <a:srgbClr val="00316C"/>
      </a:dk2>
      <a:lt2>
        <a:srgbClr val="E3E3E3"/>
      </a:lt2>
      <a:accent1>
        <a:srgbClr val="00316C"/>
      </a:accent1>
      <a:accent2>
        <a:srgbClr val="00B8FF"/>
      </a:accent2>
      <a:accent3>
        <a:srgbClr val="538FFF"/>
      </a:accent3>
      <a:accent4>
        <a:srgbClr val="F07900"/>
      </a:accent4>
      <a:accent5>
        <a:srgbClr val="E24F03"/>
      </a:accent5>
      <a:accent6>
        <a:srgbClr val="00BF35"/>
      </a:accent6>
      <a:hlink>
        <a:srgbClr val="00B8FF"/>
      </a:hlink>
      <a:folHlink>
        <a:srgbClr val="66D4FF"/>
      </a:folHlink>
    </a:clrScheme>
    <a:fontScheme name="empower">
      <a:majorFont>
        <a:latin typeface="Segoe UI Semibold"/>
        <a:ea typeface="Segoe UI Semibold"/>
        <a:cs typeface="Segoe UI Semibold"/>
      </a:majorFont>
      <a:minorFont>
        <a:latin typeface="Segoe UI Semilight"/>
        <a:ea typeface="Segoe UI Light"/>
        <a:cs typeface="Segoe UI Light"/>
      </a:minorFont>
    </a:fontScheme>
    <a:fmtScheme name="empower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 defTabSz="486000">
          <a:lnSpc>
            <a:spcPct val="100000"/>
          </a:lnSpc>
          <a:spcBef>
            <a:spcPts val="200"/>
          </a:spcBef>
          <a:spcAft>
            <a:spcPts val="2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200"/>
          </a:spcBef>
          <a:spcAft>
            <a:spcPts val="200"/>
          </a:spcAft>
          <a:defRPr sz="1400" b="0" i="0" u="none" dirty="0" err="1"/>
        </a:defPPr>
      </a:lstStyle>
    </a:txDef>
  </a:objectDefaults>
  <a:extraClrSchemeLst/>
  <a:custClrLst>
    <a:custClr name="Custom Color 1">
      <a:srgbClr val="335A89"/>
    </a:custClr>
    <a:custClr name="Custom Color 2">
      <a:srgbClr val="33C6FF"/>
    </a:custClr>
    <a:custClr name="Custom Color 3">
      <a:srgbClr val="75A5FF"/>
    </a:custClr>
    <a:custClr name="Custom Color 4">
      <a:srgbClr val="F39433"/>
    </a:custClr>
    <a:custClr name="Custom Color 5">
      <a:srgbClr val="E87235"/>
    </a:custClr>
    <a:custClr name="Custom Color 6">
      <a:srgbClr val="33CC5D"/>
    </a:custClr>
    <a:custClr name="Custom Color 7">
      <a:srgbClr val="C1C1C1"/>
    </a:custClr>
    <a:custClr name="Custom Color 8">
      <a:srgbClr val="002551"/>
    </a:custClr>
    <a:custClr name="Custom Color 9">
      <a:srgbClr val="008ABF"/>
    </a:custClr>
    <a:custClr name="Custom Color 10">
      <a:srgbClr val="0058FD"/>
    </a:custClr>
    <a:custClr name="Custom Color 11">
      <a:srgbClr val="6683A7"/>
    </a:custClr>
    <a:custClr name="Custom Color 12">
      <a:srgbClr val="66D4FF"/>
    </a:custClr>
    <a:custClr name="Custom Color 13">
      <a:srgbClr val="98BCFF"/>
    </a:custClr>
    <a:custClr name="Custom Color 14">
      <a:srgbClr val="F6AF66"/>
    </a:custClr>
    <a:custClr name="Custom Color 15">
      <a:srgbClr val="EE9568"/>
    </a:custClr>
    <a:custClr name="Custom Color 16">
      <a:srgbClr val="66D986"/>
    </a:custClr>
    <a:custClr name="Custom Color 17">
      <a:srgbClr val="D0D0D0"/>
    </a:custClr>
    <a:custClr name="Custom Color 18">
      <a:srgbClr val="001836"/>
    </a:custClr>
    <a:custClr name="Custom Color 19">
      <a:srgbClr val="005C7F"/>
    </a:custClr>
    <a:custClr name="Custom Color 20">
      <a:srgbClr val="003BA9"/>
    </a:custClr>
    <a:custClr name="Custom Color 21">
      <a:srgbClr val="99ADC4"/>
    </a:custClr>
    <a:custClr name="Custom Color 22">
      <a:srgbClr val="99E3FF"/>
    </a:custClr>
    <a:custClr name="Custom Color 23">
      <a:srgbClr val="BAD2FF"/>
    </a:custClr>
    <a:custClr name="Custom Color 24">
      <a:srgbClr val="F9C999"/>
    </a:custClr>
    <a:custClr name="Custom Color 25">
      <a:srgbClr val="F3B99A"/>
    </a:custClr>
    <a:custClr name="Custom Color 26">
      <a:srgbClr val="99E5AE"/>
    </a:custClr>
    <a:custClr name="Custom Color 27">
      <a:srgbClr val="E0E0E0"/>
    </a:custClr>
    <a:custClr name="Custom Color 28">
      <a:srgbClr val="B45B00"/>
    </a:custClr>
    <a:custClr name="Custom Color 29">
      <a:srgbClr val="A93B02"/>
    </a:custClr>
    <a:custClr name="Custom Color 30">
      <a:srgbClr val="008F28"/>
    </a:custClr>
    <a:custClr name="Custom Color 31">
      <a:srgbClr val="CCD6E2"/>
    </a:custClr>
    <a:custClr name="Custom Color 32">
      <a:srgbClr val="CCF1FF"/>
    </a:custClr>
    <a:custClr name="Custom Color 33">
      <a:srgbClr val="DDE9FF"/>
    </a:custClr>
    <a:custClr name="Custom Color 34">
      <a:srgbClr val="FCE4CC"/>
    </a:custClr>
    <a:custClr name="Custom Color 35">
      <a:srgbClr val="F9DCCD"/>
    </a:custClr>
    <a:custClr name="Custom Color 36">
      <a:srgbClr val="CCF2D7"/>
    </a:custClr>
    <a:custClr name="Custom Color 37">
      <a:srgbClr val="EFEFEF"/>
    </a:custClr>
    <a:custClr name="Custom Color 38">
      <a:srgbClr val="783C00"/>
    </a:custClr>
    <a:custClr name="Custom Color 39">
      <a:srgbClr val="712701"/>
    </a:custClr>
    <a:custClr name="Custom Color 40">
      <a:srgbClr val="00601A"/>
    </a:custClr>
    <a:custClr name="Custom Color 41">
      <a:srgbClr val="E5EAF0"/>
    </a:custClr>
    <a:custClr name="Custom Color 42">
      <a:srgbClr val="E5F8FF"/>
    </a:custClr>
    <a:custClr name="Custom Color 43">
      <a:srgbClr val="EDF4FF"/>
    </a:custClr>
    <a:custClr name="Custom Color 44">
      <a:srgbClr val="FDF1E5"/>
    </a:custClr>
    <a:custClr name="Custom Color 45">
      <a:srgbClr val="FCEDE5"/>
    </a:custClr>
    <a:custClr name="Custom Color 46">
      <a:srgbClr val="E5F8EA"/>
    </a:custClr>
    <a:custClr name="Custom Color 47">
      <a:srgbClr val="F7F7F7"/>
    </a:custClr>
    <a:custClr name="Custom Color 48">
      <a:srgbClr val="8A8A8A"/>
    </a:custClr>
    <a:custClr name="Custom Color 49">
      <a:srgbClr val="727272"/>
    </a:custClr>
    <a:custClr name="Custom Color 50">
      <a:srgbClr val="EDFCFF"/>
    </a:custClr>
  </a:custClrLst>
  <a:extLst>
    <a:ext uri="{05A4C25C-085E-4340-85A3-A5531E510DB2}">
      <thm15:themeFamily xmlns:thm15="http://schemas.microsoft.com/office/thememl/2012/main" name="Default Theme.pptx" id="{84897FA3-0C02-4E8A-BC87-5D3AA58B055E}" vid="{8933F7AF-432F-4625-B711-DE3FCE2AE6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016a47-d9d6-430c-863f-c309e8140729">
      <Terms xmlns="http://schemas.microsoft.com/office/infopath/2007/PartnerControls"/>
    </lcf76f155ced4ddcb4097134ff3c332f>
    <TaxCatchAll xmlns="e8f9acd8-fb62-4995-a82a-24ec5031e48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F9B7A738928449ADDD596720060256" ma:contentTypeVersion="21" ma:contentTypeDescription="Create a new document." ma:contentTypeScope="" ma:versionID="1bd62a9e1a73f6a3b2205f03ba1a90f9">
  <xsd:schema xmlns:xsd="http://www.w3.org/2001/XMLSchema" xmlns:xs="http://www.w3.org/2001/XMLSchema" xmlns:p="http://schemas.microsoft.com/office/2006/metadata/properties" xmlns:ns2="6f016a47-d9d6-430c-863f-c309e8140729" xmlns:ns3="e8f9acd8-fb62-4995-a82a-24ec5031e480" targetNamespace="http://schemas.microsoft.com/office/2006/metadata/properties" ma:root="true" ma:fieldsID="6329d0235d9dc1af77fbd43abb292ad1" ns2:_="" ns3:_="">
    <xsd:import namespace="6f016a47-d9d6-430c-863f-c309e8140729"/>
    <xsd:import namespace="e8f9acd8-fb62-4995-a82a-24ec5031e4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16a47-d9d6-430c-863f-c309e81407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1a50ad6-ef49-41ed-9a30-1c034c54fb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9acd8-fb62-4995-a82a-24ec5031e48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83ed61b-adf1-4161-9a62-5a2b94527958}" ma:internalName="TaxCatchAll" ma:showField="CatchAllData" ma:web="e8f9acd8-fb62-4995-a82a-24ec5031e4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10A553-6313-48B0-A676-C6C06091A5E4}">
  <ds:schemaRefs>
    <ds:schemaRef ds:uri="http://www.w3.org/XML/1998/namespace"/>
    <ds:schemaRef ds:uri="b4b0e703-4ab4-44f8-966d-9267eedce79c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1e721af-9f87-451a-945b-28d867b530e3"/>
    <ds:schemaRef ds:uri="http://purl.org/dc/elements/1.1/"/>
    <ds:schemaRef ds:uri="6f016a47-d9d6-430c-863f-c309e8140729"/>
    <ds:schemaRef ds:uri="e8f9acd8-fb62-4995-a82a-24ec5031e480"/>
  </ds:schemaRefs>
</ds:datastoreItem>
</file>

<file path=customXml/itemProps2.xml><?xml version="1.0" encoding="utf-8"?>
<ds:datastoreItem xmlns:ds="http://schemas.openxmlformats.org/officeDocument/2006/customXml" ds:itemID="{FE381F23-5F46-4393-9F9C-3DBA37944B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16a47-d9d6-430c-863f-c309e8140729"/>
    <ds:schemaRef ds:uri="e8f9acd8-fb62-4995-a82a-24ec5031e4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D2CC91-213B-4CEF-9FD0-F290108A46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3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Segoe UI</vt:lpstr>
      <vt:lpstr>Segoe UI Semibold</vt:lpstr>
      <vt:lpstr>Segoe UI Semilight</vt:lpstr>
      <vt:lpstr>Symbol</vt:lpstr>
      <vt:lpstr>Wingdings</vt:lpstr>
      <vt:lpstr>empower express</vt:lpstr>
      <vt:lpstr>The empower® ribbon – video guides (Lite version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ina Manzi</dc:creator>
  <cp:lastModifiedBy>Georgina Manzi</cp:lastModifiedBy>
  <cp:revision>1</cp:revision>
  <dcterms:created xsi:type="dcterms:W3CDTF">2025-12-10T17:00:25Z</dcterms:created>
  <dcterms:modified xsi:type="dcterms:W3CDTF">2026-01-28T11:1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FF9B7A738928449ADDD596720060256</vt:lpwstr>
  </property>
</Properties>
</file>